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av" ContentType="audio/wav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heme/theme3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7" r:id="rId2"/>
  </p:sldMasterIdLst>
  <p:notesMasterIdLst>
    <p:notesMasterId r:id="rId15"/>
  </p:notesMasterIdLst>
  <p:sldIdLst>
    <p:sldId id="2134804335" r:id="rId3"/>
    <p:sldId id="2142531929" r:id="rId4"/>
    <p:sldId id="2142531930" r:id="rId5"/>
    <p:sldId id="2142531931" r:id="rId6"/>
    <p:sldId id="2142531932" r:id="rId7"/>
    <p:sldId id="2142531933" r:id="rId8"/>
    <p:sldId id="2142531934" r:id="rId9"/>
    <p:sldId id="2142531935" r:id="rId10"/>
    <p:sldId id="2142531936" r:id="rId11"/>
    <p:sldId id="2142531937" r:id="rId12"/>
    <p:sldId id="2142531938" r:id="rId13"/>
    <p:sldId id="2142531928" r:id="rId14"/>
  </p:sldIdLst>
  <p:sldSz cx="11949113" cy="6721475"/>
  <p:notesSz cx="6742113" cy="9872663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91" userDrawn="1">
          <p15:clr>
            <a:srgbClr val="A4A3A4"/>
          </p15:clr>
        </p15:guide>
        <p15:guide id="3" pos="72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i Shen" initials="KS" lastIdx="11" clrIdx="0">
    <p:extLst>
      <p:ext uri="{19B8F6BF-5375-455C-9EA6-DF929625EA0E}">
        <p15:presenceInfo xmlns:p15="http://schemas.microsoft.com/office/powerpoint/2012/main" userId="S-1-5-21-602162358-1897051121-1417001333-496496" providerId="AD"/>
      </p:ext>
    </p:extLst>
  </p:cmAuthor>
  <p:cmAuthor id="2" name="Yezhou Shi" initials="YS" lastIdx="3" clrIdx="1">
    <p:extLst>
      <p:ext uri="{19B8F6BF-5375-455C-9EA6-DF929625EA0E}">
        <p15:presenceInfo xmlns:p15="http://schemas.microsoft.com/office/powerpoint/2012/main" userId="S::Yezhou_Shi@mckinsey.com::f81afca9-d950-461d-b6e0-b3d639f0243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DADE"/>
    <a:srgbClr val="0070C0"/>
    <a:srgbClr val="CF4627"/>
    <a:srgbClr val="619DA6"/>
    <a:srgbClr val="91BBC1"/>
    <a:srgbClr val="DFEBED"/>
    <a:srgbClr val="00506E"/>
    <a:srgbClr val="AFE9FF"/>
    <a:srgbClr val="6EA32B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17" autoAdjust="0"/>
    <p:restoredTop sz="96046" autoAdjust="0"/>
  </p:normalViewPr>
  <p:slideViewPr>
    <p:cSldViewPr snapToGrid="0">
      <p:cViewPr>
        <p:scale>
          <a:sx n="90" d="100"/>
          <a:sy n="90" d="100"/>
        </p:scale>
        <p:origin x="446" y="-53"/>
      </p:cViewPr>
      <p:guideLst>
        <p:guide orient="horz" pos="2117"/>
        <p:guide pos="91"/>
        <p:guide pos="7275"/>
      </p:guideLst>
    </p:cSldViewPr>
  </p:slideViewPr>
  <p:outlineViewPr>
    <p:cViewPr>
      <p:scale>
        <a:sx n="33" d="100"/>
        <a:sy n="33" d="100"/>
      </p:scale>
      <p:origin x="0" y="-448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5780"/>
    </p:cViewPr>
  </p:sorterViewPr>
  <p:notesViewPr>
    <p:cSldViewPr snapToGrid="0">
      <p:cViewPr varScale="1">
        <p:scale>
          <a:sx n="100" d="100"/>
          <a:sy n="100" d="100"/>
        </p:scale>
        <p:origin x="4600" y="16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7"/>
            <a:ext cx="2921582" cy="495348"/>
          </a:xfrm>
          <a:prstGeom prst="rect">
            <a:avLst/>
          </a:prstGeom>
        </p:spPr>
        <p:txBody>
          <a:bodyPr vert="horz" lIns="91034" tIns="45516" rIns="91034" bIns="455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8976" y="7"/>
            <a:ext cx="2921582" cy="495348"/>
          </a:xfrm>
          <a:prstGeom prst="rect">
            <a:avLst/>
          </a:prstGeom>
        </p:spPr>
        <p:txBody>
          <a:bodyPr vert="horz" lIns="91034" tIns="45516" rIns="91034" bIns="45516" rtlCol="0"/>
          <a:lstStyle>
            <a:lvl1pPr algn="r">
              <a:defRPr sz="1200"/>
            </a:lvl1pPr>
          </a:lstStyle>
          <a:p>
            <a:fld id="{A876E36E-4038-4EE2-B2A1-7CCF7F9753D2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1163" y="1235075"/>
            <a:ext cx="5919787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34" tIns="45516" rIns="91034" bIns="4551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216" y="4751232"/>
            <a:ext cx="5393690" cy="3887363"/>
          </a:xfrm>
          <a:prstGeom prst="rect">
            <a:avLst/>
          </a:prstGeom>
        </p:spPr>
        <p:txBody>
          <a:bodyPr vert="horz" lIns="91034" tIns="45516" rIns="91034" bIns="4551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45"/>
            <a:ext cx="2921582" cy="495347"/>
          </a:xfrm>
          <a:prstGeom prst="rect">
            <a:avLst/>
          </a:prstGeom>
        </p:spPr>
        <p:txBody>
          <a:bodyPr vert="horz" lIns="91034" tIns="45516" rIns="91034" bIns="455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8976" y="9377345"/>
            <a:ext cx="2921582" cy="495347"/>
          </a:xfrm>
          <a:prstGeom prst="rect">
            <a:avLst/>
          </a:prstGeom>
        </p:spPr>
        <p:txBody>
          <a:bodyPr vert="horz" lIns="91034" tIns="45516" rIns="91034" bIns="45516" rtlCol="0" anchor="b"/>
          <a:lstStyle>
            <a:lvl1pPr algn="r">
              <a:defRPr sz="1200"/>
            </a:lvl1pPr>
          </a:lstStyle>
          <a:p>
            <a:fld id="{7513E6C3-639E-4B6E-A903-37199AE8AF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1937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13E6C3-639E-4B6E-A903-37199AE8AFA1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7863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4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5.xml"/><Relationship Id="rId7" Type="http://schemas.openxmlformats.org/officeDocument/2006/relationships/image" Target="../media/image4.jpeg"/><Relationship Id="rId2" Type="http://schemas.openxmlformats.org/officeDocument/2006/relationships/tags" Target="../tags/tag4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9.vml"/><Relationship Id="rId6" Type="http://schemas.openxmlformats.org/officeDocument/2006/relationships/tags" Target="../tags/tag54.xml"/><Relationship Id="rId11" Type="http://schemas.openxmlformats.org/officeDocument/2006/relationships/image" Target="../media/image8.emf"/><Relationship Id="rId5" Type="http://schemas.openxmlformats.org/officeDocument/2006/relationships/tags" Target="../tags/tag53.xml"/><Relationship Id="rId10" Type="http://schemas.openxmlformats.org/officeDocument/2006/relationships/oleObject" Target="../embeddings/oleObject9.bin"/><Relationship Id="rId4" Type="http://schemas.openxmlformats.org/officeDocument/2006/relationships/tags" Target="../tags/tag52.xml"/><Relationship Id="rId9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4291524"/>
              </p:ext>
            </p:extLst>
          </p:nvPr>
        </p:nvGraphicFramePr>
        <p:xfrm>
          <a:off x="2126" y="160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03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6" y="160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463F0D81-1100-4411-AFF4-96B3DC6ACE2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136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4" name="圖片 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5" y="-1"/>
            <a:ext cx="11943013" cy="6721475"/>
          </a:xfrm>
          <a:prstGeom prst="rect">
            <a:avLst/>
          </a:prstGeom>
        </p:spPr>
      </p:pic>
      <p:pic>
        <p:nvPicPr>
          <p:cNvPr id="26" name="圖片 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812006" y="218848"/>
            <a:ext cx="1738809" cy="306932"/>
          </a:xfrm>
          <a:prstGeom prst="rect">
            <a:avLst/>
          </a:prstGeom>
        </p:spPr>
      </p:pic>
      <p:sp>
        <p:nvSpPr>
          <p:cNvPr id="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3204422" y="2305976"/>
            <a:ext cx="834639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136" b="1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204422" y="3807525"/>
            <a:ext cx="8346390" cy="21115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372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2" name="Working Draft Text" hidden="1"/>
          <p:cNvSpPr txBox="1">
            <a:spLocks noChangeArrowheads="1"/>
          </p:cNvSpPr>
          <p:nvPr/>
        </p:nvSpPr>
        <p:spPr bwMode="auto">
          <a:xfrm>
            <a:off x="3204423" y="2150338"/>
            <a:ext cx="860813" cy="12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84" b="1" baseline="0" noProof="0" dirty="0">
                <a:solidFill>
                  <a:schemeClr val="tx1"/>
                </a:solidFill>
                <a:latin typeface="+mn-lt"/>
              </a:rPr>
              <a:t>WORKING DRAFT</a:t>
            </a:r>
          </a:p>
        </p:txBody>
      </p:sp>
      <p:sp>
        <p:nvSpPr>
          <p:cNvPr id="23" name="Working Draft" hidden="1"/>
          <p:cNvSpPr txBox="1">
            <a:spLocks noChangeArrowheads="1"/>
          </p:cNvSpPr>
          <p:nvPr/>
        </p:nvSpPr>
        <p:spPr bwMode="auto">
          <a:xfrm>
            <a:off x="3204420" y="2305913"/>
            <a:ext cx="2325958" cy="12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84" baseline="0" noProof="0">
                <a:solidFill>
                  <a:schemeClr val="tx1"/>
                </a:solidFill>
                <a:latin typeface="+mn-lt"/>
              </a:rPr>
              <a:t>Last Modified 2020/5/22 7:57 China Standard Time</a:t>
            </a:r>
            <a:endParaRPr lang="en-US" sz="784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>
            <a:off x="3204422" y="2463076"/>
            <a:ext cx="2282676" cy="12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84" baseline="0" noProof="0">
                <a:solidFill>
                  <a:schemeClr val="tx1"/>
                </a:solidFill>
                <a:latin typeface="+mn-lt"/>
              </a:rPr>
              <a:t>Printed 1/22/2020 10:40 AM China Standard Time</a:t>
            </a:r>
            <a:endParaRPr lang="en-US" sz="784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Document type" hidden="1"/>
          <p:cNvSpPr txBox="1">
            <a:spLocks noChangeArrowheads="1"/>
          </p:cNvSpPr>
          <p:nvPr/>
        </p:nvSpPr>
        <p:spPr bwMode="auto">
          <a:xfrm>
            <a:off x="3204422" y="5057667"/>
            <a:ext cx="8346390" cy="2111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n-GB"/>
            </a:pPr>
            <a:r>
              <a:rPr lang="en-US" sz="1372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9944748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1691190"/>
              </p:ext>
            </p:extLst>
          </p:nvPr>
        </p:nvGraphicFramePr>
        <p:xfrm>
          <a:off x="2081" y="1564"/>
          <a:ext cx="2073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952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81" y="1564"/>
                        <a:ext cx="2073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 hidden="1">
            <a:extLst>
              <a:ext uri="{FF2B5EF4-FFF2-40B4-BE49-F238E27FC236}">
                <a16:creationId xmlns:a16="http://schemas.microsoft.com/office/drawing/2014/main" xmlns="" id="{0C7F546B-4F83-4538-BA5D-30831D737F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76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764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9063" y="216255"/>
            <a:ext cx="10183128" cy="271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3A91463B-6220-440A-ABDE-A70AD53F6E77}"/>
              </a:ext>
            </a:extLst>
          </p:cNvPr>
          <p:cNvGrpSpPr/>
          <p:nvPr userDrawn="1"/>
        </p:nvGrpSpPr>
        <p:grpSpPr>
          <a:xfrm>
            <a:off x="141043" y="141355"/>
            <a:ext cx="519358" cy="426318"/>
            <a:chOff x="138113" y="741362"/>
            <a:chExt cx="411956" cy="338138"/>
          </a:xfrm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xmlns="" id="{2A2D9579-49FE-471E-B5F7-4A2A57C2A26B}"/>
                </a:ext>
              </a:extLst>
            </p:cNvPr>
            <p:cNvSpPr/>
            <p:nvPr/>
          </p:nvSpPr>
          <p:spPr>
            <a:xfrm>
              <a:off x="138113" y="760413"/>
              <a:ext cx="226218" cy="319087"/>
            </a:xfrm>
            <a:custGeom>
              <a:avLst/>
              <a:gdLst>
                <a:gd name="connsiteX0" fmla="*/ 200025 w 226218"/>
                <a:gd name="connsiteY0" fmla="*/ 69056 h 319087"/>
                <a:gd name="connsiteX1" fmla="*/ 150018 w 226218"/>
                <a:gd name="connsiteY1" fmla="*/ 169068 h 319087"/>
                <a:gd name="connsiteX2" fmla="*/ 226218 w 226218"/>
                <a:gd name="connsiteY2" fmla="*/ 214312 h 319087"/>
                <a:gd name="connsiteX3" fmla="*/ 180975 w 226218"/>
                <a:gd name="connsiteY3" fmla="*/ 319087 h 319087"/>
                <a:gd name="connsiteX4" fmla="*/ 0 w 226218"/>
                <a:gd name="connsiteY4" fmla="*/ 211931 h 319087"/>
                <a:gd name="connsiteX5" fmla="*/ 83343 w 226218"/>
                <a:gd name="connsiteY5" fmla="*/ 0 h 319087"/>
                <a:gd name="connsiteX6" fmla="*/ 200025 w 226218"/>
                <a:gd name="connsiteY6" fmla="*/ 69056 h 319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218" h="319087">
                  <a:moveTo>
                    <a:pt x="200025" y="69056"/>
                  </a:moveTo>
                  <a:lnTo>
                    <a:pt x="150018" y="169068"/>
                  </a:lnTo>
                  <a:lnTo>
                    <a:pt x="226218" y="214312"/>
                  </a:lnTo>
                  <a:lnTo>
                    <a:pt x="180975" y="319087"/>
                  </a:lnTo>
                  <a:lnTo>
                    <a:pt x="0" y="211931"/>
                  </a:lnTo>
                  <a:lnTo>
                    <a:pt x="83343" y="0"/>
                  </a:lnTo>
                  <a:lnTo>
                    <a:pt x="200025" y="69056"/>
                  </a:lnTo>
                  <a:close/>
                </a:path>
              </a:pathLst>
            </a:custGeom>
            <a:solidFill>
              <a:srgbClr val="FDF77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xmlns="" id="{B074B1FF-8104-4BED-B1F1-9B36DBAFC580}"/>
                </a:ext>
              </a:extLst>
            </p:cNvPr>
            <p:cNvSpPr/>
            <p:nvPr/>
          </p:nvSpPr>
          <p:spPr>
            <a:xfrm>
              <a:off x="319088" y="848519"/>
              <a:ext cx="230981" cy="230981"/>
            </a:xfrm>
            <a:custGeom>
              <a:avLst/>
              <a:gdLst>
                <a:gd name="connsiteX0" fmla="*/ 0 w 230981"/>
                <a:gd name="connsiteY0" fmla="*/ 230981 h 230981"/>
                <a:gd name="connsiteX1" fmla="*/ 157162 w 230981"/>
                <a:gd name="connsiteY1" fmla="*/ 192881 h 230981"/>
                <a:gd name="connsiteX2" fmla="*/ 230981 w 230981"/>
                <a:gd name="connsiteY2" fmla="*/ 0 h 230981"/>
                <a:gd name="connsiteX3" fmla="*/ 88106 w 230981"/>
                <a:gd name="connsiteY3" fmla="*/ 23812 h 230981"/>
                <a:gd name="connsiteX4" fmla="*/ 0 w 230981"/>
                <a:gd name="connsiteY4" fmla="*/ 230981 h 230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0981" h="230981">
                  <a:moveTo>
                    <a:pt x="0" y="230981"/>
                  </a:moveTo>
                  <a:lnTo>
                    <a:pt x="157162" y="192881"/>
                  </a:lnTo>
                  <a:lnTo>
                    <a:pt x="230981" y="0"/>
                  </a:lnTo>
                  <a:lnTo>
                    <a:pt x="88106" y="23812"/>
                  </a:lnTo>
                  <a:lnTo>
                    <a:pt x="0" y="230981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EDE791"/>
                </a:gs>
                <a:gs pos="100000">
                  <a:srgbClr val="EDF192"/>
                </a:gs>
              </a:gsLst>
              <a:path path="circle">
                <a:fillToRect t="100000" r="100000"/>
              </a:path>
              <a:tileRect l="-100000" b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xmlns="" id="{B0F7E18C-6606-4F9A-BB06-62A2A42E797C}"/>
                </a:ext>
              </a:extLst>
            </p:cNvPr>
            <p:cNvSpPr/>
            <p:nvPr/>
          </p:nvSpPr>
          <p:spPr>
            <a:xfrm>
              <a:off x="219075" y="741362"/>
              <a:ext cx="326231" cy="130969"/>
            </a:xfrm>
            <a:custGeom>
              <a:avLst/>
              <a:gdLst>
                <a:gd name="connsiteX0" fmla="*/ 0 w 326231"/>
                <a:gd name="connsiteY0" fmla="*/ 14288 h 130969"/>
                <a:gd name="connsiteX1" fmla="*/ 185738 w 326231"/>
                <a:gd name="connsiteY1" fmla="*/ 130969 h 130969"/>
                <a:gd name="connsiteX2" fmla="*/ 326231 w 326231"/>
                <a:gd name="connsiteY2" fmla="*/ 107156 h 130969"/>
                <a:gd name="connsiteX3" fmla="*/ 147638 w 326231"/>
                <a:gd name="connsiteY3" fmla="*/ 0 h 130969"/>
                <a:gd name="connsiteX4" fmla="*/ 0 w 326231"/>
                <a:gd name="connsiteY4" fmla="*/ 14288 h 130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231" h="130969">
                  <a:moveTo>
                    <a:pt x="0" y="14288"/>
                  </a:moveTo>
                  <a:lnTo>
                    <a:pt x="185738" y="130969"/>
                  </a:lnTo>
                  <a:lnTo>
                    <a:pt x="326231" y="107156"/>
                  </a:lnTo>
                  <a:lnTo>
                    <a:pt x="147638" y="0"/>
                  </a:lnTo>
                  <a:lnTo>
                    <a:pt x="0" y="14288"/>
                  </a:lnTo>
                  <a:close/>
                </a:path>
              </a:pathLst>
            </a:custGeom>
            <a:solidFill>
              <a:srgbClr val="00A19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21165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5478185"/>
              </p:ext>
            </p:extLst>
          </p:nvPr>
        </p:nvGraphicFramePr>
        <p:xfrm>
          <a:off x="2081" y="1564"/>
          <a:ext cx="2073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0546" name="think-cell Slide" r:id="rId5" imgW="449" imgH="450" progId="TCLayout.ActiveDocument.1">
                  <p:embed/>
                </p:oleObj>
              </mc:Choice>
              <mc:Fallback>
                <p:oleObj name="think-cell Slide" r:id="rId5" imgW="449" imgH="45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81" y="1564"/>
                        <a:ext cx="2073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34571F7B-0784-4E8D-B3A2-4F32C8AC80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76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764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38471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095335" y="1568346"/>
            <a:ext cx="10555050" cy="1206421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標題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 smtClean="0"/>
              <a:t>按一下以編輯母片標題樣式</a:t>
            </a: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5775404" y="6422743"/>
            <a:ext cx="697032" cy="37341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6790E0-BEF4-4832-A75A-9EE1100ED3A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07876363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5423183"/>
              </p:ext>
            </p:extLst>
          </p:nvPr>
        </p:nvGraphicFramePr>
        <p:xfrm>
          <a:off x="2126" y="160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69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6" y="160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463F0D81-1100-4411-AFF4-96B3DC6ACE2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136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4" name="圖片 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5" y="-1"/>
            <a:ext cx="11943013" cy="6721475"/>
          </a:xfrm>
          <a:prstGeom prst="rect">
            <a:avLst/>
          </a:prstGeom>
        </p:spPr>
      </p:pic>
      <p:pic>
        <p:nvPicPr>
          <p:cNvPr id="26" name="圖片 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812006" y="218848"/>
            <a:ext cx="1738809" cy="306932"/>
          </a:xfrm>
          <a:prstGeom prst="rect">
            <a:avLst/>
          </a:prstGeom>
        </p:spPr>
      </p:pic>
      <p:sp>
        <p:nvSpPr>
          <p:cNvPr id="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3204422" y="2305976"/>
            <a:ext cx="834639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136" b="1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204422" y="3807525"/>
            <a:ext cx="8346390" cy="21115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372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2" name="Working Draft Text" hidden="1"/>
          <p:cNvSpPr txBox="1">
            <a:spLocks noChangeArrowheads="1"/>
          </p:cNvSpPr>
          <p:nvPr/>
        </p:nvSpPr>
        <p:spPr bwMode="auto">
          <a:xfrm>
            <a:off x="3204423" y="2150338"/>
            <a:ext cx="860813" cy="12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84" b="1" baseline="0" noProof="0" dirty="0">
                <a:solidFill>
                  <a:schemeClr val="tx1"/>
                </a:solidFill>
                <a:latin typeface="+mn-lt"/>
              </a:rPr>
              <a:t>WORKING DRAFT</a:t>
            </a:r>
          </a:p>
        </p:txBody>
      </p:sp>
      <p:sp>
        <p:nvSpPr>
          <p:cNvPr id="23" name="Working Draft" hidden="1"/>
          <p:cNvSpPr txBox="1">
            <a:spLocks noChangeArrowheads="1"/>
          </p:cNvSpPr>
          <p:nvPr/>
        </p:nvSpPr>
        <p:spPr bwMode="auto">
          <a:xfrm>
            <a:off x="3204420" y="2305913"/>
            <a:ext cx="2325958" cy="12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84" baseline="0" noProof="0">
                <a:solidFill>
                  <a:schemeClr val="tx1"/>
                </a:solidFill>
                <a:latin typeface="+mn-lt"/>
              </a:rPr>
              <a:t>Last Modified 2020/5/22 7:57 China Standard Time</a:t>
            </a:r>
            <a:endParaRPr lang="en-US" sz="784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>
            <a:off x="3204422" y="2463076"/>
            <a:ext cx="2282676" cy="12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84" baseline="0" noProof="0">
                <a:solidFill>
                  <a:schemeClr val="tx1"/>
                </a:solidFill>
                <a:latin typeface="+mn-lt"/>
              </a:rPr>
              <a:t>Printed 1/22/2020 10:40 AM China Standard Time</a:t>
            </a:r>
            <a:endParaRPr lang="en-US" sz="784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Document type" hidden="1"/>
          <p:cNvSpPr txBox="1">
            <a:spLocks noChangeArrowheads="1"/>
          </p:cNvSpPr>
          <p:nvPr/>
        </p:nvSpPr>
        <p:spPr bwMode="auto">
          <a:xfrm>
            <a:off x="3204422" y="5057667"/>
            <a:ext cx="8346390" cy="2111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n-GB"/>
            </a:pPr>
            <a:r>
              <a:rPr lang="en-US" sz="1372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6184916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2078362"/>
              </p:ext>
            </p:extLst>
          </p:nvPr>
        </p:nvGraphicFramePr>
        <p:xfrm>
          <a:off x="2081" y="1564"/>
          <a:ext cx="2073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797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81" y="1564"/>
                        <a:ext cx="2073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 hidden="1">
            <a:extLst>
              <a:ext uri="{FF2B5EF4-FFF2-40B4-BE49-F238E27FC236}">
                <a16:creationId xmlns:a16="http://schemas.microsoft.com/office/drawing/2014/main" xmlns="" id="{0C7F546B-4F83-4538-BA5D-30831D737F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76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764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9063" y="216255"/>
            <a:ext cx="10183128" cy="271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3A91463B-6220-440A-ABDE-A70AD53F6E77}"/>
              </a:ext>
            </a:extLst>
          </p:cNvPr>
          <p:cNvGrpSpPr/>
          <p:nvPr userDrawn="1"/>
        </p:nvGrpSpPr>
        <p:grpSpPr>
          <a:xfrm>
            <a:off x="141043" y="141355"/>
            <a:ext cx="519358" cy="426318"/>
            <a:chOff x="138113" y="741362"/>
            <a:chExt cx="411956" cy="338138"/>
          </a:xfrm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xmlns="" id="{2A2D9579-49FE-471E-B5F7-4A2A57C2A26B}"/>
                </a:ext>
              </a:extLst>
            </p:cNvPr>
            <p:cNvSpPr/>
            <p:nvPr/>
          </p:nvSpPr>
          <p:spPr>
            <a:xfrm>
              <a:off x="138113" y="760413"/>
              <a:ext cx="226218" cy="319087"/>
            </a:xfrm>
            <a:custGeom>
              <a:avLst/>
              <a:gdLst>
                <a:gd name="connsiteX0" fmla="*/ 200025 w 226218"/>
                <a:gd name="connsiteY0" fmla="*/ 69056 h 319087"/>
                <a:gd name="connsiteX1" fmla="*/ 150018 w 226218"/>
                <a:gd name="connsiteY1" fmla="*/ 169068 h 319087"/>
                <a:gd name="connsiteX2" fmla="*/ 226218 w 226218"/>
                <a:gd name="connsiteY2" fmla="*/ 214312 h 319087"/>
                <a:gd name="connsiteX3" fmla="*/ 180975 w 226218"/>
                <a:gd name="connsiteY3" fmla="*/ 319087 h 319087"/>
                <a:gd name="connsiteX4" fmla="*/ 0 w 226218"/>
                <a:gd name="connsiteY4" fmla="*/ 211931 h 319087"/>
                <a:gd name="connsiteX5" fmla="*/ 83343 w 226218"/>
                <a:gd name="connsiteY5" fmla="*/ 0 h 319087"/>
                <a:gd name="connsiteX6" fmla="*/ 200025 w 226218"/>
                <a:gd name="connsiteY6" fmla="*/ 69056 h 319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218" h="319087">
                  <a:moveTo>
                    <a:pt x="200025" y="69056"/>
                  </a:moveTo>
                  <a:lnTo>
                    <a:pt x="150018" y="169068"/>
                  </a:lnTo>
                  <a:lnTo>
                    <a:pt x="226218" y="214312"/>
                  </a:lnTo>
                  <a:lnTo>
                    <a:pt x="180975" y="319087"/>
                  </a:lnTo>
                  <a:lnTo>
                    <a:pt x="0" y="211931"/>
                  </a:lnTo>
                  <a:lnTo>
                    <a:pt x="83343" y="0"/>
                  </a:lnTo>
                  <a:lnTo>
                    <a:pt x="200025" y="69056"/>
                  </a:lnTo>
                  <a:close/>
                </a:path>
              </a:pathLst>
            </a:custGeom>
            <a:solidFill>
              <a:srgbClr val="FDF77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xmlns="" id="{B074B1FF-8104-4BED-B1F1-9B36DBAFC580}"/>
                </a:ext>
              </a:extLst>
            </p:cNvPr>
            <p:cNvSpPr/>
            <p:nvPr/>
          </p:nvSpPr>
          <p:spPr>
            <a:xfrm>
              <a:off x="319088" y="848519"/>
              <a:ext cx="230981" cy="230981"/>
            </a:xfrm>
            <a:custGeom>
              <a:avLst/>
              <a:gdLst>
                <a:gd name="connsiteX0" fmla="*/ 0 w 230981"/>
                <a:gd name="connsiteY0" fmla="*/ 230981 h 230981"/>
                <a:gd name="connsiteX1" fmla="*/ 157162 w 230981"/>
                <a:gd name="connsiteY1" fmla="*/ 192881 h 230981"/>
                <a:gd name="connsiteX2" fmla="*/ 230981 w 230981"/>
                <a:gd name="connsiteY2" fmla="*/ 0 h 230981"/>
                <a:gd name="connsiteX3" fmla="*/ 88106 w 230981"/>
                <a:gd name="connsiteY3" fmla="*/ 23812 h 230981"/>
                <a:gd name="connsiteX4" fmla="*/ 0 w 230981"/>
                <a:gd name="connsiteY4" fmla="*/ 230981 h 230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0981" h="230981">
                  <a:moveTo>
                    <a:pt x="0" y="230981"/>
                  </a:moveTo>
                  <a:lnTo>
                    <a:pt x="157162" y="192881"/>
                  </a:lnTo>
                  <a:lnTo>
                    <a:pt x="230981" y="0"/>
                  </a:lnTo>
                  <a:lnTo>
                    <a:pt x="88106" y="23812"/>
                  </a:lnTo>
                  <a:lnTo>
                    <a:pt x="0" y="230981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EDE791"/>
                </a:gs>
                <a:gs pos="100000">
                  <a:srgbClr val="EDF192"/>
                </a:gs>
              </a:gsLst>
              <a:path path="circle">
                <a:fillToRect t="100000" r="100000"/>
              </a:path>
              <a:tileRect l="-100000" b="-10000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xmlns="" id="{B0F7E18C-6606-4F9A-BB06-62A2A42E797C}"/>
                </a:ext>
              </a:extLst>
            </p:cNvPr>
            <p:cNvSpPr/>
            <p:nvPr/>
          </p:nvSpPr>
          <p:spPr>
            <a:xfrm>
              <a:off x="219075" y="741362"/>
              <a:ext cx="326231" cy="130969"/>
            </a:xfrm>
            <a:custGeom>
              <a:avLst/>
              <a:gdLst>
                <a:gd name="connsiteX0" fmla="*/ 0 w 326231"/>
                <a:gd name="connsiteY0" fmla="*/ 14288 h 130969"/>
                <a:gd name="connsiteX1" fmla="*/ 185738 w 326231"/>
                <a:gd name="connsiteY1" fmla="*/ 130969 h 130969"/>
                <a:gd name="connsiteX2" fmla="*/ 326231 w 326231"/>
                <a:gd name="connsiteY2" fmla="*/ 107156 h 130969"/>
                <a:gd name="connsiteX3" fmla="*/ 147638 w 326231"/>
                <a:gd name="connsiteY3" fmla="*/ 0 h 130969"/>
                <a:gd name="connsiteX4" fmla="*/ 0 w 326231"/>
                <a:gd name="connsiteY4" fmla="*/ 14288 h 130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231" h="130969">
                  <a:moveTo>
                    <a:pt x="0" y="14288"/>
                  </a:moveTo>
                  <a:lnTo>
                    <a:pt x="185738" y="130969"/>
                  </a:lnTo>
                  <a:lnTo>
                    <a:pt x="326231" y="107156"/>
                  </a:lnTo>
                  <a:lnTo>
                    <a:pt x="147638" y="0"/>
                  </a:lnTo>
                  <a:lnTo>
                    <a:pt x="0" y="14288"/>
                  </a:lnTo>
                  <a:close/>
                </a:path>
              </a:pathLst>
            </a:custGeom>
            <a:solidFill>
              <a:srgbClr val="00A19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8999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5097255"/>
              </p:ext>
            </p:extLst>
          </p:nvPr>
        </p:nvGraphicFramePr>
        <p:xfrm>
          <a:off x="2081" y="1564"/>
          <a:ext cx="2073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8995" name="think-cell Slide" r:id="rId5" imgW="449" imgH="450" progId="TCLayout.ActiveDocument.1">
                  <p:embed/>
                </p:oleObj>
              </mc:Choice>
              <mc:Fallback>
                <p:oleObj name="think-cell Slide" r:id="rId5" imgW="449" imgH="45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81" y="1564"/>
                        <a:ext cx="2073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34571F7B-0784-4E8D-B3A2-4F32C8AC80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76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764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70588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56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001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56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9F741700-5035-4E61-A4AC-1B3C7AE220D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5588" cy="15559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47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087159" y="6369381"/>
            <a:ext cx="319017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7796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779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43685" y="6372238"/>
            <a:ext cx="7132872" cy="12066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83" dirty="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6092AEE3-9BFE-FF4E-BBEE-BA5F0C8554DF}"/>
              </a:ext>
            </a:extLst>
          </p:cNvPr>
          <p:cNvSpPr txBox="1"/>
          <p:nvPr/>
        </p:nvSpPr>
        <p:spPr>
          <a:xfrm>
            <a:off x="2834667" y="100335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294"/>
              </a:spcBef>
              <a:spcAft>
                <a:spcPts val="294"/>
              </a:spcAft>
              <a:buNone/>
            </a:pPr>
            <a:endParaRPr lang="x-none" sz="1566" dirty="0"/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5638B7D9-DE7C-5048-8FBF-F851912B826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43686" y="293680"/>
            <a:ext cx="10861743" cy="27148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3" name="TopLine">
            <a:extLst>
              <a:ext uri="{FF2B5EF4-FFF2-40B4-BE49-F238E27FC236}">
                <a16:creationId xmlns:a16="http://schemas.microsoft.com/office/drawing/2014/main" xmlns="" id="{65B7066E-7CAF-714E-82BC-9913887FF747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43686" y="789769"/>
            <a:ext cx="10861743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LineBasicDefault 5">
            <a:extLst>
              <a:ext uri="{FF2B5EF4-FFF2-40B4-BE49-F238E27FC236}">
                <a16:creationId xmlns:a16="http://schemas.microsoft.com/office/drawing/2014/main" xmlns="" id="{92EEA76F-2BD2-9246-A718-B8E09FD6A35A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543686" y="1455226"/>
            <a:ext cx="10861743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4">
            <a:extLst>
              <a:ext uri="{FF2B5EF4-FFF2-40B4-BE49-F238E27FC236}">
                <a16:creationId xmlns:a16="http://schemas.microsoft.com/office/drawing/2014/main" xmlns="" id="{8BCD6C0E-815F-404F-90C1-7F4599359FA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3056" y="2195298"/>
            <a:ext cx="984743" cy="210827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370"/>
            </a:lvl1pPr>
          </a:lstStyle>
          <a:p>
            <a:pPr lvl="0"/>
            <a:r>
              <a:rPr lang="en-US" altLang="zh-CN" dirty="0"/>
              <a:t>-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xmlns="" id="{A5E14AED-D22E-6E42-8E03-F21C36DC23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27374" y="1115769"/>
            <a:ext cx="4497484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defRPr sz="979"/>
            </a:lvl1pPr>
          </a:lstStyle>
          <a:p>
            <a:pPr lvl="0"/>
            <a:r>
              <a:rPr lang="en-US" altLang="zh-CN" dirty="0"/>
              <a:t>Topic 1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33" name="Text Placeholder 24">
            <a:extLst>
              <a:ext uri="{FF2B5EF4-FFF2-40B4-BE49-F238E27FC236}">
                <a16:creationId xmlns:a16="http://schemas.microsoft.com/office/drawing/2014/main" xmlns="" id="{5F3611DE-29C3-714F-80BF-472683CB7E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27374" y="2225370"/>
            <a:ext cx="4497484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79"/>
            </a:lvl1pPr>
          </a:lstStyle>
          <a:p>
            <a:pPr lvl="0"/>
            <a:r>
              <a:rPr lang="en-US" altLang="zh-CN" dirty="0"/>
              <a:t>Topic 1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36" name="Text Placeholder 24">
            <a:extLst>
              <a:ext uri="{FF2B5EF4-FFF2-40B4-BE49-F238E27FC236}">
                <a16:creationId xmlns:a16="http://schemas.microsoft.com/office/drawing/2014/main" xmlns="" id="{07F6A37A-4D53-5F45-8367-06C03EFB93C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4433" y="1115769"/>
            <a:ext cx="2399497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defRPr sz="979"/>
            </a:lvl1pPr>
          </a:lstStyle>
          <a:p>
            <a:pPr lvl="0"/>
            <a:r>
              <a:rPr lang="en-US" altLang="zh-CN" dirty="0"/>
              <a:t>Topic 2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37" name="Text Placeholder 24">
            <a:extLst>
              <a:ext uri="{FF2B5EF4-FFF2-40B4-BE49-F238E27FC236}">
                <a16:creationId xmlns:a16="http://schemas.microsoft.com/office/drawing/2014/main" xmlns="" id="{E2496342-C411-5B42-91F0-1C3457FF35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4434" y="2225370"/>
            <a:ext cx="2399497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defRPr sz="979"/>
            </a:lvl1pPr>
          </a:lstStyle>
          <a:p>
            <a:pPr lvl="0"/>
            <a:r>
              <a:rPr lang="en-US" altLang="zh-CN" dirty="0"/>
              <a:t>Topic 2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40" name="Text Placeholder 24">
            <a:extLst>
              <a:ext uri="{FF2B5EF4-FFF2-40B4-BE49-F238E27FC236}">
                <a16:creationId xmlns:a16="http://schemas.microsoft.com/office/drawing/2014/main" xmlns="" id="{3F5F631C-626E-4846-AAFA-96E3E9212CB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03504" y="1115769"/>
            <a:ext cx="2399497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defRPr sz="979"/>
            </a:lvl1pPr>
          </a:lstStyle>
          <a:p>
            <a:pPr lvl="0"/>
            <a:r>
              <a:rPr lang="en-US" altLang="zh-CN" dirty="0"/>
              <a:t>Topic 1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41" name="Text Placeholder 24">
            <a:extLst>
              <a:ext uri="{FF2B5EF4-FFF2-40B4-BE49-F238E27FC236}">
                <a16:creationId xmlns:a16="http://schemas.microsoft.com/office/drawing/2014/main" xmlns="" id="{0CC535FB-76D4-A34D-943A-7C2ABFA1854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03506" y="2225370"/>
            <a:ext cx="2399497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defRPr sz="979"/>
            </a:lvl1pPr>
          </a:lstStyle>
          <a:p>
            <a:pPr lvl="0"/>
            <a:r>
              <a:rPr lang="en-US" altLang="zh-CN" dirty="0"/>
              <a:t>Topic 1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44" name="Text Placeholder 24">
            <a:extLst>
              <a:ext uri="{FF2B5EF4-FFF2-40B4-BE49-F238E27FC236}">
                <a16:creationId xmlns:a16="http://schemas.microsoft.com/office/drawing/2014/main" xmlns="" id="{030169A7-BBE3-184E-99C9-A098525145F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3056" y="3784484"/>
            <a:ext cx="984743" cy="210827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370"/>
            </a:lvl1pPr>
          </a:lstStyle>
          <a:p>
            <a:pPr lvl="0"/>
            <a:r>
              <a:rPr lang="en-US" altLang="zh-CN" dirty="0"/>
              <a:t>-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45" name="Text Placeholder 24">
            <a:extLst>
              <a:ext uri="{FF2B5EF4-FFF2-40B4-BE49-F238E27FC236}">
                <a16:creationId xmlns:a16="http://schemas.microsoft.com/office/drawing/2014/main" xmlns="" id="{04338391-3338-1A41-BAA1-679E5C64591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27374" y="3814556"/>
            <a:ext cx="4497484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defRPr sz="979"/>
            </a:lvl1pPr>
          </a:lstStyle>
          <a:p>
            <a:pPr lvl="0"/>
            <a:r>
              <a:rPr lang="en-US" altLang="zh-CN" dirty="0"/>
              <a:t>Topic 1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46" name="Text Placeholder 24">
            <a:extLst>
              <a:ext uri="{FF2B5EF4-FFF2-40B4-BE49-F238E27FC236}">
                <a16:creationId xmlns:a16="http://schemas.microsoft.com/office/drawing/2014/main" xmlns="" id="{D596374E-F2D6-114C-921E-48CEC1E766C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14434" y="3814556"/>
            <a:ext cx="2399497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defRPr sz="979"/>
            </a:lvl1pPr>
          </a:lstStyle>
          <a:p>
            <a:pPr lvl="0"/>
            <a:r>
              <a:rPr lang="en-US" altLang="zh-CN" dirty="0"/>
              <a:t>Topic 2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47" name="Text Placeholder 24">
            <a:extLst>
              <a:ext uri="{FF2B5EF4-FFF2-40B4-BE49-F238E27FC236}">
                <a16:creationId xmlns:a16="http://schemas.microsoft.com/office/drawing/2014/main" xmlns="" id="{FEC896E2-BB58-DE42-9B70-B17747CEB4F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03506" y="3814556"/>
            <a:ext cx="2399497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defRPr sz="979"/>
            </a:lvl1pPr>
          </a:lstStyle>
          <a:p>
            <a:pPr lvl="0"/>
            <a:r>
              <a:rPr lang="en-US" altLang="zh-CN" dirty="0"/>
              <a:t>Topic 1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xmlns="" id="{FE1DEE42-94A5-1244-91E4-623A5E91E75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3056" y="5373670"/>
            <a:ext cx="984743" cy="210827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370"/>
            </a:lvl1pPr>
          </a:lstStyle>
          <a:p>
            <a:pPr lvl="0"/>
            <a:r>
              <a:rPr lang="en-US" altLang="zh-CN" dirty="0"/>
              <a:t>-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xmlns="" id="{90912DFC-A558-D541-A770-B8BBDDB2BA3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27374" y="5403742"/>
            <a:ext cx="4497484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defRPr sz="979"/>
            </a:lvl1pPr>
          </a:lstStyle>
          <a:p>
            <a:pPr lvl="0"/>
            <a:r>
              <a:rPr lang="en-US" altLang="zh-CN" dirty="0"/>
              <a:t>Topic 1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xmlns="" id="{9D56D5F4-3549-CE42-890B-D4DA959DEF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414434" y="5403742"/>
            <a:ext cx="2399497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defRPr sz="979"/>
            </a:lvl1pPr>
          </a:lstStyle>
          <a:p>
            <a:pPr lvl="0"/>
            <a:r>
              <a:rPr lang="en-US" altLang="zh-CN" dirty="0"/>
              <a:t>Topic 2</a:t>
            </a:r>
            <a:r>
              <a:rPr lang="zh-CN" altLang="en-US" dirty="0"/>
              <a:t> </a:t>
            </a:r>
            <a:endParaRPr lang="x-none" dirty="0"/>
          </a:p>
        </p:txBody>
      </p:sp>
      <p:sp>
        <p:nvSpPr>
          <p:cNvPr id="51" name="Text Placeholder 24">
            <a:extLst>
              <a:ext uri="{FF2B5EF4-FFF2-40B4-BE49-F238E27FC236}">
                <a16:creationId xmlns:a16="http://schemas.microsoft.com/office/drawing/2014/main" xmlns="" id="{40397F58-EF55-0347-AE6A-12C28BC4A1D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03506" y="5403742"/>
            <a:ext cx="2399497" cy="15068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defRPr sz="979"/>
            </a:lvl1pPr>
          </a:lstStyle>
          <a:p>
            <a:pPr lvl="0"/>
            <a:r>
              <a:rPr lang="en-US" altLang="zh-CN" dirty="0"/>
              <a:t>Topic 1</a:t>
            </a:r>
            <a:r>
              <a:rPr lang="zh-CN" altLang="en-US" dirty="0"/>
              <a:t> 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2059768368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5" Type="http://schemas.openxmlformats.org/officeDocument/2006/relationships/theme" Target="../theme/theme1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7.xml"/><Relationship Id="rId21" Type="http://schemas.openxmlformats.org/officeDocument/2006/relationships/tags" Target="../tags/tag40.xml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oleObject" Target="../embeddings/oleObject5.bin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35.xml"/><Relationship Id="rId20" Type="http://schemas.openxmlformats.org/officeDocument/2006/relationships/tags" Target="../tags/tag39.xml"/><Relationship Id="rId1" Type="http://schemas.openxmlformats.org/officeDocument/2006/relationships/slideLayout" Target="../slideLayouts/slideLayout5.xml"/><Relationship Id="rId6" Type="http://schemas.openxmlformats.org/officeDocument/2006/relationships/vmlDrawing" Target="../drawings/vmlDrawing5.vml"/><Relationship Id="rId11" Type="http://schemas.openxmlformats.org/officeDocument/2006/relationships/tags" Target="../tags/tag30.xml"/><Relationship Id="rId24" Type="http://schemas.openxmlformats.org/officeDocument/2006/relationships/tags" Target="../tags/tag43.xml"/><Relationship Id="rId5" Type="http://schemas.openxmlformats.org/officeDocument/2006/relationships/theme" Target="../theme/theme2.xml"/><Relationship Id="rId15" Type="http://schemas.openxmlformats.org/officeDocument/2006/relationships/tags" Target="../tags/tag34.xml"/><Relationship Id="rId23" Type="http://schemas.openxmlformats.org/officeDocument/2006/relationships/tags" Target="../tags/tag42.xml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tags" Target="../tags/tag41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3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378419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8498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ADC71702-F99A-4D9E-91BA-36A76F7B31B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0" y="0"/>
            <a:ext cx="211676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764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87161" y="2337620"/>
            <a:ext cx="1737655" cy="90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88">
                <a:solidFill>
                  <a:srgbClr val="080808"/>
                </a:solidFill>
                <a:latin typeface="Arial"/>
              </a:rPr>
              <a:t>Last Modified 2020/5/22 7:57 China Standard Time</a:t>
            </a:r>
            <a:endParaRPr lang="en-US" sz="588" dirty="0">
              <a:solidFill>
                <a:srgbClr val="080808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003980" y="4511447"/>
            <a:ext cx="1703993" cy="90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88">
                <a:solidFill>
                  <a:srgbClr val="080808"/>
                </a:solidFill>
                <a:latin typeface="Arial"/>
              </a:rPr>
              <a:t>Printed 1/22/2020 10:40 AM China Standard Time</a:t>
            </a:r>
            <a:endParaRPr lang="en-US" sz="588" dirty="0">
              <a:solidFill>
                <a:srgbClr val="080808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75995" y="216255"/>
            <a:ext cx="10917691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838099" y="48644"/>
            <a:ext cx="1227426" cy="12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784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838100" y="542080"/>
            <a:ext cx="10535772" cy="241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568" dirty="0">
                <a:solidFill>
                  <a:srgbClr val="808080"/>
                </a:solidFill>
                <a:latin typeface="+mn-lt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48055" y="5998174"/>
            <a:ext cx="10712705" cy="12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784" baseline="0" dirty="0">
                <a:solidFill>
                  <a:srgbClr val="080808"/>
                </a:solidFill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48042" y="6169421"/>
            <a:ext cx="10712712" cy="12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en-US" sz="784" baseline="0" dirty="0">
                <a:solidFill>
                  <a:srgbClr val="080808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8" y="1878813"/>
            <a:ext cx="5736421" cy="500063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568" b="1" dirty="0">
                  <a:solidFill>
                    <a:srgbClr val="080808"/>
                  </a:solidFill>
                  <a:latin typeface="+mn-lt"/>
                </a:rPr>
                <a:t>Title</a:t>
              </a:r>
            </a:p>
            <a:p>
              <a:r>
                <a:rPr lang="en-US" sz="1568" dirty="0">
                  <a:solidFill>
                    <a:srgbClr val="808080"/>
                  </a:solidFill>
                  <a:latin typeface="+mn-lt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36848" y="2459380"/>
            <a:ext cx="5736421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10389243" y="265264"/>
            <a:ext cx="848821" cy="996952"/>
            <a:chOff x="4936" y="176"/>
            <a:chExt cx="40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9978603" y="265271"/>
            <a:ext cx="1259473" cy="730251"/>
            <a:chOff x="4750" y="176"/>
            <a:chExt cx="59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35" name="Sticker" hidden="1"/>
          <p:cNvGrpSpPr/>
          <p:nvPr/>
        </p:nvGrpSpPr>
        <p:grpSpPr bwMode="auto">
          <a:xfrm>
            <a:off x="10353220" y="265266"/>
            <a:ext cx="1066894" cy="212366"/>
            <a:chOff x="7940640" y="285750"/>
            <a:chExt cx="800135" cy="212366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7940640" y="285750"/>
              <a:ext cx="80013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794064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7940640" y="498116"/>
              <a:ext cx="80013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9" name="LegendMoons" hidden="1"/>
          <p:cNvGrpSpPr/>
          <p:nvPr/>
        </p:nvGrpSpPr>
        <p:grpSpPr bwMode="auto">
          <a:xfrm>
            <a:off x="10299999" y="265264"/>
            <a:ext cx="937340" cy="1306516"/>
            <a:chOff x="7875175" y="286625"/>
            <a:chExt cx="702974" cy="1306516"/>
          </a:xfrm>
        </p:grpSpPr>
        <p:grpSp>
          <p:nvGrpSpPr>
            <p:cNvPr id="40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grpSp>
          <p:nvGrpSpPr>
            <p:cNvPr id="41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grpSp>
          <p:nvGrpSpPr>
            <p:cNvPr id="42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sp>
          <p:nvSpPr>
            <p:cNvPr id="4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48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grpSp>
          <p:nvGrpSpPr>
            <p:cNvPr id="49" name="MoonLegend1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</p:grpSp>
      <p:grpSp>
        <p:nvGrpSpPr>
          <p:cNvPr id="63" name="Moon" hidden="1"/>
          <p:cNvGrpSpPr/>
          <p:nvPr>
            <p:custDataLst>
              <p:tags r:id="rId9"/>
            </p:custDataLst>
          </p:nvPr>
        </p:nvGrpSpPr>
        <p:grpSpPr bwMode="auto">
          <a:xfrm>
            <a:off x="9433716" y="900639"/>
            <a:ext cx="338682" cy="254000"/>
            <a:chOff x="762000" y="1270000"/>
            <a:chExt cx="254000" cy="254000"/>
          </a:xfrm>
        </p:grpSpPr>
        <p:sp>
          <p:nvSpPr>
            <p:cNvPr id="64" name="Oval 63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32" dirty="0">
                <a:solidFill>
                  <a:schemeClr val="tx1"/>
                </a:solidFill>
              </a:endParaRPr>
            </a:p>
          </p:txBody>
        </p:sp>
        <p:sp>
          <p:nvSpPr>
            <p:cNvPr id="65" name="Arc 64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32" dirty="0"/>
            </a:p>
          </p:txBody>
        </p:sp>
      </p:grpSp>
      <p:sp>
        <p:nvSpPr>
          <p:cNvPr id="66" name="Slide Number Placeholder 5"/>
          <p:cNvSpPr txBox="1">
            <a:spLocks/>
          </p:cNvSpPr>
          <p:nvPr/>
        </p:nvSpPr>
        <p:spPr bwMode="auto">
          <a:xfrm>
            <a:off x="5926396" y="6461205"/>
            <a:ext cx="153888" cy="1508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66481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32962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99443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65925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332406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98887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65368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731849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DAA26DCF-0A6C-4187-B812-8875B1EF096F}" type="slidenum">
              <a:rPr lang="en-US" sz="980" smtClean="0"/>
              <a:pPr/>
              <a:t>‹#›</a:t>
            </a:fld>
            <a:endParaRPr lang="en-US" sz="980" dirty="0"/>
          </a:p>
        </p:txBody>
      </p:sp>
      <p:sp>
        <p:nvSpPr>
          <p:cNvPr id="6" name="Freeform 5"/>
          <p:cNvSpPr/>
          <p:nvPr/>
        </p:nvSpPr>
        <p:spPr>
          <a:xfrm>
            <a:off x="9559293" y="0"/>
            <a:ext cx="2389822" cy="227164"/>
          </a:xfrm>
          <a:custGeom>
            <a:avLst/>
            <a:gdLst>
              <a:gd name="connsiteX0" fmla="*/ 0 w 4533900"/>
              <a:gd name="connsiteY0" fmla="*/ 0 h 590550"/>
              <a:gd name="connsiteX1" fmla="*/ 4533900 w 4533900"/>
              <a:gd name="connsiteY1" fmla="*/ 0 h 590550"/>
              <a:gd name="connsiteX2" fmla="*/ 4533900 w 4533900"/>
              <a:gd name="connsiteY2" fmla="*/ 238125 h 590550"/>
              <a:gd name="connsiteX3" fmla="*/ 3962400 w 4533900"/>
              <a:gd name="connsiteY3" fmla="*/ 590550 h 590550"/>
              <a:gd name="connsiteX4" fmla="*/ 0 w 4533900"/>
              <a:gd name="connsiteY4" fmla="*/ 0 h 590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33900" h="590550">
                <a:moveTo>
                  <a:pt x="0" y="0"/>
                </a:moveTo>
                <a:lnTo>
                  <a:pt x="4533900" y="0"/>
                </a:lnTo>
                <a:lnTo>
                  <a:pt x="4533900" y="238125"/>
                </a:lnTo>
                <a:lnTo>
                  <a:pt x="3962400" y="590550"/>
                </a:lnTo>
                <a:lnTo>
                  <a:pt x="0" y="0"/>
                </a:lnTo>
                <a:close/>
              </a:path>
            </a:pathLst>
          </a:custGeom>
          <a:solidFill>
            <a:srgbClr val="00A1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>
              <a:solidFill>
                <a:schemeClr val="bg1"/>
              </a:solidFill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-12446" y="6385401"/>
            <a:ext cx="4547679" cy="336074"/>
          </a:xfrm>
          <a:custGeom>
            <a:avLst/>
            <a:gdLst>
              <a:gd name="connsiteX0" fmla="*/ 0 w 3429000"/>
              <a:gd name="connsiteY0" fmla="*/ 514350 h 514350"/>
              <a:gd name="connsiteX1" fmla="*/ 523875 w 3429000"/>
              <a:gd name="connsiteY1" fmla="*/ 0 h 514350"/>
              <a:gd name="connsiteX2" fmla="*/ 3429000 w 3429000"/>
              <a:gd name="connsiteY2" fmla="*/ 514350 h 514350"/>
              <a:gd name="connsiteX3" fmla="*/ 0 w 3429000"/>
              <a:gd name="connsiteY3" fmla="*/ 514350 h 514350"/>
              <a:gd name="connsiteX0" fmla="*/ 0 w 3429000"/>
              <a:gd name="connsiteY0" fmla="*/ 489462 h 489462"/>
              <a:gd name="connsiteX1" fmla="*/ 360060 w 3429000"/>
              <a:gd name="connsiteY1" fmla="*/ 0 h 489462"/>
              <a:gd name="connsiteX2" fmla="*/ 3429000 w 3429000"/>
              <a:gd name="connsiteY2" fmla="*/ 489462 h 489462"/>
              <a:gd name="connsiteX3" fmla="*/ 0 w 3429000"/>
              <a:gd name="connsiteY3" fmla="*/ 489462 h 489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9000" h="489462">
                <a:moveTo>
                  <a:pt x="0" y="489462"/>
                </a:moveTo>
                <a:lnTo>
                  <a:pt x="360060" y="0"/>
                </a:lnTo>
                <a:lnTo>
                  <a:pt x="3429000" y="489462"/>
                </a:lnTo>
                <a:lnTo>
                  <a:pt x="0" y="489462"/>
                </a:lnTo>
                <a:close/>
              </a:path>
            </a:pathLst>
          </a:custGeom>
          <a:solidFill>
            <a:srgbClr val="EDF1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>
              <a:solidFill>
                <a:schemeClr val="bg1"/>
              </a:solidFill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361368" y="6536060"/>
            <a:ext cx="1692950" cy="12066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lvl="1">
              <a:buClr>
                <a:srgbClr val="000000"/>
              </a:buClr>
              <a:buSzPct val="120000"/>
              <a:tabLst>
                <a:tab pos="3918935" algn="r"/>
                <a:tab pos="8065008" algn="r"/>
              </a:tabLst>
            </a:pPr>
            <a:r>
              <a:rPr lang="en-US" sz="784" b="1" i="1" dirty="0">
                <a:solidFill>
                  <a:schemeClr val="tx1"/>
                </a:solidFill>
              </a:rPr>
              <a:t>Think Great</a:t>
            </a:r>
            <a:r>
              <a:rPr lang="zh-TW" altLang="en-US" sz="784" b="1" i="1" dirty="0">
                <a:solidFill>
                  <a:schemeClr val="tx1"/>
                </a:solidFill>
              </a:rPr>
              <a:t>．</a:t>
            </a:r>
            <a:r>
              <a:rPr lang="en-US" sz="784" b="1" i="1" dirty="0">
                <a:solidFill>
                  <a:schemeClr val="tx1"/>
                </a:solidFill>
              </a:rPr>
              <a:t>Act Smart</a:t>
            </a:r>
            <a:endParaRPr lang="en-US" sz="784" b="1" i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67" name="圖片 1">
            <a:extLst>
              <a:ext uri="{FF2B5EF4-FFF2-40B4-BE49-F238E27FC236}">
                <a16:creationId xmlns:a16="http://schemas.microsoft.com/office/drawing/2014/main" xmlns="" id="{28808517-8F5D-4E5C-A939-8BD1265AAEA8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679683" y="6447028"/>
            <a:ext cx="871128" cy="164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310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82" r:id="rId4"/>
  </p:sldLayoutIdLst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269704" algn="l"/>
        </a:tabLst>
        <a:defRPr sz="1764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68" baseline="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68" baseline="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68" baseline="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68" baseline="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 baseline="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 baseline="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 baseline="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 baseline="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3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9077392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5931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" name="Rectangle 3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ADC71702-F99A-4D9E-91BA-36A76F7B31B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0" y="0"/>
            <a:ext cx="211676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764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87161" y="2337620"/>
            <a:ext cx="1737655" cy="90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88">
                <a:solidFill>
                  <a:srgbClr val="080808"/>
                </a:solidFill>
                <a:latin typeface="Arial"/>
              </a:rPr>
              <a:t>Last Modified 2020/5/22 7:57 China Standard Time</a:t>
            </a:r>
            <a:endParaRPr lang="en-US" sz="588" dirty="0">
              <a:solidFill>
                <a:srgbClr val="080808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003980" y="4511447"/>
            <a:ext cx="1703993" cy="90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88">
                <a:solidFill>
                  <a:srgbClr val="080808"/>
                </a:solidFill>
                <a:latin typeface="Arial"/>
              </a:rPr>
              <a:t>Printed 1/22/2020 10:40 AM China Standard Time</a:t>
            </a:r>
            <a:endParaRPr lang="en-US" sz="588" dirty="0">
              <a:solidFill>
                <a:srgbClr val="080808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75995" y="216255"/>
            <a:ext cx="10917691" cy="271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838099" y="48644"/>
            <a:ext cx="1227426" cy="12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784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838100" y="542080"/>
            <a:ext cx="10535772" cy="241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568" dirty="0">
                <a:solidFill>
                  <a:srgbClr val="808080"/>
                </a:solidFill>
                <a:latin typeface="+mn-lt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48055" y="5998174"/>
            <a:ext cx="10712705" cy="12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784" baseline="0" dirty="0">
                <a:solidFill>
                  <a:srgbClr val="080808"/>
                </a:solidFill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48042" y="6169421"/>
            <a:ext cx="10712712" cy="12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en-US" sz="784" baseline="0" dirty="0">
                <a:solidFill>
                  <a:srgbClr val="080808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36848" y="1878813"/>
            <a:ext cx="5736421" cy="500063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568" b="1" dirty="0">
                  <a:solidFill>
                    <a:srgbClr val="080808"/>
                  </a:solidFill>
                  <a:latin typeface="+mn-lt"/>
                </a:rPr>
                <a:t>Title</a:t>
              </a:r>
            </a:p>
            <a:p>
              <a:r>
                <a:rPr lang="en-US" sz="1568" dirty="0">
                  <a:solidFill>
                    <a:srgbClr val="808080"/>
                  </a:solidFill>
                  <a:latin typeface="+mn-lt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36848" y="2459380"/>
            <a:ext cx="5736421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10389243" y="265264"/>
            <a:ext cx="848821" cy="996952"/>
            <a:chOff x="4936" y="176"/>
            <a:chExt cx="40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9978603" y="265271"/>
            <a:ext cx="1259473" cy="730251"/>
            <a:chOff x="4750" y="176"/>
            <a:chExt cx="59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35" name="Sticker" hidden="1"/>
          <p:cNvGrpSpPr/>
          <p:nvPr/>
        </p:nvGrpSpPr>
        <p:grpSpPr bwMode="auto">
          <a:xfrm>
            <a:off x="10353220" y="265266"/>
            <a:ext cx="1066894" cy="212366"/>
            <a:chOff x="7940640" y="285750"/>
            <a:chExt cx="800135" cy="212366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7940640" y="285750"/>
              <a:ext cx="80013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794064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7940640" y="498116"/>
              <a:ext cx="80013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9" name="LegendMoons" hidden="1"/>
          <p:cNvGrpSpPr/>
          <p:nvPr/>
        </p:nvGrpSpPr>
        <p:grpSpPr bwMode="auto">
          <a:xfrm>
            <a:off x="10299999" y="265264"/>
            <a:ext cx="937340" cy="1306516"/>
            <a:chOff x="7875175" y="286625"/>
            <a:chExt cx="702974" cy="1306516"/>
          </a:xfrm>
        </p:grpSpPr>
        <p:grpSp>
          <p:nvGrpSpPr>
            <p:cNvPr id="40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grpSp>
          <p:nvGrpSpPr>
            <p:cNvPr id="41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grpSp>
          <p:nvGrpSpPr>
            <p:cNvPr id="42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sp>
          <p:nvSpPr>
            <p:cNvPr id="4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48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grpSp>
          <p:nvGrpSpPr>
            <p:cNvPr id="49" name="MoonLegend1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</p:grpSp>
      <p:grpSp>
        <p:nvGrpSpPr>
          <p:cNvPr id="63" name="Moon" hidden="1"/>
          <p:cNvGrpSpPr/>
          <p:nvPr>
            <p:custDataLst>
              <p:tags r:id="rId9"/>
            </p:custDataLst>
          </p:nvPr>
        </p:nvGrpSpPr>
        <p:grpSpPr bwMode="auto">
          <a:xfrm>
            <a:off x="9433716" y="900639"/>
            <a:ext cx="338682" cy="254000"/>
            <a:chOff x="762000" y="1270000"/>
            <a:chExt cx="254000" cy="254000"/>
          </a:xfrm>
        </p:grpSpPr>
        <p:sp>
          <p:nvSpPr>
            <p:cNvPr id="64" name="Oval 63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32" dirty="0">
                <a:solidFill>
                  <a:schemeClr val="tx1"/>
                </a:solidFill>
              </a:endParaRPr>
            </a:p>
          </p:txBody>
        </p:sp>
        <p:sp>
          <p:nvSpPr>
            <p:cNvPr id="65" name="Arc 64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32" dirty="0"/>
            </a:p>
          </p:txBody>
        </p:sp>
      </p:grpSp>
      <p:sp>
        <p:nvSpPr>
          <p:cNvPr id="66" name="Slide Number Placeholder 5"/>
          <p:cNvSpPr txBox="1">
            <a:spLocks/>
          </p:cNvSpPr>
          <p:nvPr/>
        </p:nvSpPr>
        <p:spPr bwMode="auto">
          <a:xfrm>
            <a:off x="5926396" y="6461205"/>
            <a:ext cx="153888" cy="1508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66481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32962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99443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65925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332406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98887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65368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731849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DAA26DCF-0A6C-4187-B812-8875B1EF096F}" type="slidenum">
              <a:rPr lang="en-US" sz="980" smtClean="0"/>
              <a:pPr/>
              <a:t>‹#›</a:t>
            </a:fld>
            <a:endParaRPr lang="en-US" sz="980" dirty="0"/>
          </a:p>
        </p:txBody>
      </p:sp>
      <p:sp>
        <p:nvSpPr>
          <p:cNvPr id="6" name="Freeform 5"/>
          <p:cNvSpPr/>
          <p:nvPr/>
        </p:nvSpPr>
        <p:spPr>
          <a:xfrm>
            <a:off x="9559293" y="0"/>
            <a:ext cx="2389822" cy="227164"/>
          </a:xfrm>
          <a:custGeom>
            <a:avLst/>
            <a:gdLst>
              <a:gd name="connsiteX0" fmla="*/ 0 w 4533900"/>
              <a:gd name="connsiteY0" fmla="*/ 0 h 590550"/>
              <a:gd name="connsiteX1" fmla="*/ 4533900 w 4533900"/>
              <a:gd name="connsiteY1" fmla="*/ 0 h 590550"/>
              <a:gd name="connsiteX2" fmla="*/ 4533900 w 4533900"/>
              <a:gd name="connsiteY2" fmla="*/ 238125 h 590550"/>
              <a:gd name="connsiteX3" fmla="*/ 3962400 w 4533900"/>
              <a:gd name="connsiteY3" fmla="*/ 590550 h 590550"/>
              <a:gd name="connsiteX4" fmla="*/ 0 w 4533900"/>
              <a:gd name="connsiteY4" fmla="*/ 0 h 590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33900" h="590550">
                <a:moveTo>
                  <a:pt x="0" y="0"/>
                </a:moveTo>
                <a:lnTo>
                  <a:pt x="4533900" y="0"/>
                </a:lnTo>
                <a:lnTo>
                  <a:pt x="4533900" y="238125"/>
                </a:lnTo>
                <a:lnTo>
                  <a:pt x="3962400" y="590550"/>
                </a:lnTo>
                <a:lnTo>
                  <a:pt x="0" y="0"/>
                </a:lnTo>
                <a:close/>
              </a:path>
            </a:pathLst>
          </a:custGeom>
          <a:solidFill>
            <a:srgbClr val="00A1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>
              <a:solidFill>
                <a:schemeClr val="bg1"/>
              </a:solidFill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-12446" y="6385401"/>
            <a:ext cx="4547679" cy="336074"/>
          </a:xfrm>
          <a:custGeom>
            <a:avLst/>
            <a:gdLst>
              <a:gd name="connsiteX0" fmla="*/ 0 w 3429000"/>
              <a:gd name="connsiteY0" fmla="*/ 514350 h 514350"/>
              <a:gd name="connsiteX1" fmla="*/ 523875 w 3429000"/>
              <a:gd name="connsiteY1" fmla="*/ 0 h 514350"/>
              <a:gd name="connsiteX2" fmla="*/ 3429000 w 3429000"/>
              <a:gd name="connsiteY2" fmla="*/ 514350 h 514350"/>
              <a:gd name="connsiteX3" fmla="*/ 0 w 3429000"/>
              <a:gd name="connsiteY3" fmla="*/ 514350 h 514350"/>
              <a:gd name="connsiteX0" fmla="*/ 0 w 3429000"/>
              <a:gd name="connsiteY0" fmla="*/ 489462 h 489462"/>
              <a:gd name="connsiteX1" fmla="*/ 360060 w 3429000"/>
              <a:gd name="connsiteY1" fmla="*/ 0 h 489462"/>
              <a:gd name="connsiteX2" fmla="*/ 3429000 w 3429000"/>
              <a:gd name="connsiteY2" fmla="*/ 489462 h 489462"/>
              <a:gd name="connsiteX3" fmla="*/ 0 w 3429000"/>
              <a:gd name="connsiteY3" fmla="*/ 489462 h 489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9000" h="489462">
                <a:moveTo>
                  <a:pt x="0" y="489462"/>
                </a:moveTo>
                <a:lnTo>
                  <a:pt x="360060" y="0"/>
                </a:lnTo>
                <a:lnTo>
                  <a:pt x="3429000" y="489462"/>
                </a:lnTo>
                <a:lnTo>
                  <a:pt x="0" y="489462"/>
                </a:lnTo>
                <a:close/>
              </a:path>
            </a:pathLst>
          </a:custGeom>
          <a:solidFill>
            <a:srgbClr val="EDF1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>
              <a:solidFill>
                <a:schemeClr val="bg1"/>
              </a:solidFill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361368" y="6536060"/>
            <a:ext cx="1692950" cy="12066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lvl="1">
              <a:buClr>
                <a:srgbClr val="000000"/>
              </a:buClr>
              <a:buSzPct val="120000"/>
              <a:tabLst>
                <a:tab pos="3918935" algn="r"/>
                <a:tab pos="8065008" algn="r"/>
              </a:tabLst>
            </a:pPr>
            <a:r>
              <a:rPr lang="en-US" sz="784" b="1" i="1" dirty="0">
                <a:solidFill>
                  <a:schemeClr val="tx1"/>
                </a:solidFill>
              </a:rPr>
              <a:t>Think Great</a:t>
            </a:r>
            <a:r>
              <a:rPr lang="zh-TW" altLang="en-US" sz="784" b="1" i="1" dirty="0">
                <a:solidFill>
                  <a:schemeClr val="tx1"/>
                </a:solidFill>
              </a:rPr>
              <a:t>．</a:t>
            </a:r>
            <a:r>
              <a:rPr lang="en-US" sz="784" b="1" i="1" dirty="0">
                <a:solidFill>
                  <a:schemeClr val="tx1"/>
                </a:solidFill>
              </a:rPr>
              <a:t>Act Smart</a:t>
            </a:r>
            <a:endParaRPr lang="en-US" sz="784" b="1" i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67" name="圖片 1">
            <a:extLst>
              <a:ext uri="{FF2B5EF4-FFF2-40B4-BE49-F238E27FC236}">
                <a16:creationId xmlns:a16="http://schemas.microsoft.com/office/drawing/2014/main" xmlns="" id="{28808517-8F5D-4E5C-A939-8BD1265AAEA8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679683" y="6447028"/>
            <a:ext cx="871128" cy="164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949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</p:sldLayoutIdLst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269704" algn="l"/>
        </a:tabLst>
        <a:defRPr sz="1764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68" baseline="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68" baseline="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68" baseline="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68" baseline="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 baseline="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 baseline="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 baseline="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 baseline="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9.emf"/><Relationship Id="rId2" Type="http://schemas.openxmlformats.org/officeDocument/2006/relationships/tags" Target="../tags/tag57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6E760C01-2246-442F-BD96-16A1B8A51B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8294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0947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6E760C01-2246-442F-BD96-16A1B8A51B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 hidden="1">
            <a:extLst>
              <a:ext uri="{FF2B5EF4-FFF2-40B4-BE49-F238E27FC236}">
                <a16:creationId xmlns:a16="http://schemas.microsoft.com/office/drawing/2014/main" xmlns="" id="{BD022F61-598A-4D1F-BE53-1B22BDBFF4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2800" i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1026">
            <a:extLst>
              <a:ext uri="{FF2B5EF4-FFF2-40B4-BE49-F238E27FC236}">
                <a16:creationId xmlns:a16="http://schemas.microsoft.com/office/drawing/2014/main" xmlns="" id="{70F25819-6ACA-458D-B40B-94D25997A80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04422" y="2021667"/>
            <a:ext cx="7260378" cy="1477328"/>
          </a:xfrm>
        </p:spPr>
        <p:txBody>
          <a:bodyPr/>
          <a:lstStyle/>
          <a:p>
            <a:r>
              <a:rPr lang="en-US" altLang="en-US" sz="3600" dirty="0">
                <a:solidFill>
                  <a:srgbClr val="333333"/>
                </a:solidFill>
                <a:ea typeface="文鼎粗黑" pitchFamily="49" charset="-120"/>
              </a:rPr>
              <a:t>Node.js &amp; Web </a:t>
            </a:r>
            <a:r>
              <a:rPr lang="en-US" altLang="en-US" sz="3600" dirty="0" smtClean="0">
                <a:solidFill>
                  <a:srgbClr val="333333"/>
                </a:solidFill>
                <a:ea typeface="文鼎粗黑" pitchFamily="49" charset="-120"/>
              </a:rPr>
              <a:t>Crawler</a:t>
            </a:r>
            <a:r>
              <a:rPr lang="en-US" sz="3200" dirty="0"/>
              <a:t/>
            </a:r>
            <a:br>
              <a:rPr lang="en-US" sz="3200" dirty="0"/>
            </a:br>
            <a:r>
              <a:rPr lang="en-US" sz="3200" dirty="0"/>
              <a:t/>
            </a:r>
            <a:br>
              <a:rPr lang="en-US" sz="3200" dirty="0"/>
            </a:br>
            <a:r>
              <a:rPr lang="en-US" altLang="zh-CN" sz="2800" b="0" i="1" dirty="0" smtClean="0"/>
              <a:t>exercise </a:t>
            </a:r>
            <a:r>
              <a:rPr lang="en-US" altLang="zh-CN" sz="2800" b="0" i="1" dirty="0" err="1" smtClean="0"/>
              <a:t>kq</a:t>
            </a:r>
            <a:endParaRPr lang="en-US" sz="2800" b="0" i="1" dirty="0"/>
          </a:p>
        </p:txBody>
      </p:sp>
    </p:spTree>
    <p:extLst>
      <p:ext uri="{BB962C8B-B14F-4D97-AF65-F5344CB8AC3E}">
        <p14:creationId xmlns:p14="http://schemas.microsoft.com/office/powerpoint/2010/main" val="61268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de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33421" y="731602"/>
            <a:ext cx="11627145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va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export2CSV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new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4EC9B0"/>
                </a:solidFill>
                <a:latin typeface="Consolas" panose="020B0609020204030204" pitchFamily="49" charset="0"/>
              </a:rPr>
              <a:t>Promis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solv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jec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</a:t>
            </a:r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4FC1FF"/>
                </a:solidFill>
                <a:latin typeface="Consolas" panose="020B0609020204030204" pitchFamily="49" charset="0"/>
              </a:rPr>
              <a:t>fields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[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department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employee_id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employee_na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dat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work_hour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status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reate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]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</a:t>
            </a:r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4FC1FF"/>
                </a:solidFill>
                <a:latin typeface="Consolas" panose="020B0609020204030204" pitchFamily="49" charset="0"/>
              </a:rPr>
              <a:t>json2csvParse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new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4EC9B0"/>
                </a:solidFill>
                <a:latin typeface="Consolas" panose="020B0609020204030204" pitchFamily="49" charset="0"/>
              </a:rPr>
              <a:t>Json2csvParse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fields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}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le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clock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</a:t>
            </a:r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4FC1FF"/>
                </a:solidFill>
                <a:latin typeface="Consolas" panose="020B0609020204030204" pitchFamily="49" charset="0"/>
              </a:rPr>
              <a:t>csv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4FC1FF"/>
                </a:solidFill>
                <a:latin typeface="Consolas" panose="020B0609020204030204" pitchFamily="49" charset="0"/>
              </a:rPr>
              <a:t>json2csvParse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pars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clock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</a:t>
            </a:r>
            <a:r>
              <a:rPr lang="en-US" altLang="zh-CN" dirty="0">
                <a:solidFill>
                  <a:srgbClr val="6A9955"/>
                </a:solidFill>
                <a:latin typeface="Consolas" panose="020B0609020204030204" pitchFamily="49" charset="0"/>
              </a:rPr>
              <a:t>//console.log(csv);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</a:t>
            </a:r>
            <a:r>
              <a:rPr lang="en-US" altLang="zh-CN" dirty="0" err="1">
                <a:solidFill>
                  <a:srgbClr val="4EC9B0"/>
                </a:solidFill>
                <a:latin typeface="Consolas" panose="020B0609020204030204" pitchFamily="49" charset="0"/>
              </a:rPr>
              <a:t>fs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writeFil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"./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tmp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/Report.csv"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r>
              <a:rPr lang="en-US" altLang="zh-CN" dirty="0">
                <a:solidFill>
                  <a:srgbClr val="D7BA7D"/>
                </a:solidFill>
                <a:latin typeface="Consolas" panose="020B0609020204030204" pitchFamily="49" charset="0"/>
              </a:rPr>
              <a:t>\</a:t>
            </a:r>
            <a:r>
              <a:rPr lang="en-US" altLang="zh-CN" dirty="0" err="1">
                <a:solidFill>
                  <a:srgbClr val="D7BA7D"/>
                </a:solidFill>
                <a:latin typeface="Consolas" panose="020B0609020204030204" pitchFamily="49" charset="0"/>
              </a:rPr>
              <a:t>ufeff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${</a:t>
            </a:r>
            <a:r>
              <a:rPr lang="en-US" altLang="zh-CN" dirty="0">
                <a:solidFill>
                  <a:srgbClr val="4FC1FF"/>
                </a:solidFill>
                <a:latin typeface="Consolas" panose="020B0609020204030204" pitchFamily="49" charset="0"/>
              </a:rPr>
              <a:t>csv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}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utf-8'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jec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}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els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consol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log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tmp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/Report.csv was saved"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solv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clock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}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}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}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}</a:t>
            </a:r>
            <a:endParaRPr lang="en-US" altLang="zh-CN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2917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int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ext 707"/>
          <p:cNvSpPr txBox="1"/>
          <p:nvPr/>
        </p:nvSpPr>
        <p:spPr>
          <a:xfrm>
            <a:off x="304046" y="480757"/>
            <a:ext cx="1524754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mise</a:t>
            </a:r>
            <a:endParaRPr sz="1800" b="1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04046" y="850089"/>
            <a:ext cx="1158315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333333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简单来讲，就是能把原来的回调写法分离出来，在异步操作执行完后，用链式调用的方式执行回调函</a:t>
            </a:r>
            <a:r>
              <a:rPr lang="zh-CN" altLang="en-US" dirty="0" smtClean="0">
                <a:solidFill>
                  <a:srgbClr val="333333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数。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mise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的精髓是“状态”，用维护状态、传递状态的方式来使得回调函数能够及时调</a:t>
            </a:r>
            <a:r>
              <a:rPr lang="zh-CN" altLang="en-US" dirty="0" smtClean="0">
                <a:latin typeface="Tahoma" panose="020B0604030504040204" pitchFamily="34" charset="0"/>
                <a:cs typeface="Tahoma" panose="020B0604030504040204" pitchFamily="34" charset="0"/>
              </a:rPr>
              <a:t>用。</a:t>
            </a:r>
            <a:endParaRPr lang="en-US" altLang="zh-CN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solve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是将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mise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的状态置</a:t>
            </a:r>
            <a:r>
              <a:rPr lang="zh-CN" altLang="en-US" dirty="0" smtClean="0">
                <a:latin typeface="Tahoma" panose="020B0604030504040204" pitchFamily="34" charset="0"/>
                <a:cs typeface="Tahoma" panose="020B0604030504040204" pitchFamily="34" charset="0"/>
              </a:rPr>
              <a:t>为成功 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fulfill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ject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是将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mise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的状态置</a:t>
            </a:r>
            <a:r>
              <a:rPr lang="zh-CN" altLang="en-US" dirty="0" smtClean="0">
                <a:latin typeface="Tahoma" panose="020B0604030504040204" pitchFamily="34" charset="0"/>
                <a:cs typeface="Tahoma" panose="020B0604030504040204" pitchFamily="34" charset="0"/>
              </a:rPr>
              <a:t>为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失</a:t>
            </a:r>
            <a:r>
              <a:rPr lang="zh-CN" altLang="en-US" dirty="0" smtClean="0">
                <a:latin typeface="Tahoma" panose="020B0604030504040204" pitchFamily="34" charset="0"/>
                <a:cs typeface="Tahoma" panose="020B0604030504040204" pitchFamily="34" charset="0"/>
              </a:rPr>
              <a:t>败 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rejec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ttps://blog.csdn.net/txqd1989/article/details/79102880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4046" y="2111973"/>
            <a:ext cx="1524754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8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luebird</a:t>
            </a:r>
            <a:endParaRPr lang="en-US" altLang="zh-CN" sz="1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4046" y="2481305"/>
            <a:ext cx="1158315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luebird 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是一个第三方 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mise 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规范实现库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它不仅完全兼容原生 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mise 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对象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且比原生对象功能更强大</a:t>
            </a:r>
            <a:r>
              <a:rPr lang="zh-CN" altLang="en-US" dirty="0" smtClean="0">
                <a:latin typeface="Tahoma" panose="020B0604030504040204" pitchFamily="34" charset="0"/>
                <a:cs typeface="Tahoma" panose="020B0604030504040204" pitchFamily="34" charset="0"/>
              </a:rPr>
              <a:t>。</a:t>
            </a:r>
            <a:endParaRPr lang="en-US" altLang="zh-CN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ttp://bluebirdjs.com/docs/getting-started.html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04046" y="3066080"/>
            <a:ext cx="2616954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8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ync</a:t>
            </a:r>
            <a:r>
              <a:rPr lang="zh-CN" altLang="en-US" sz="1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和</a:t>
            </a:r>
            <a:r>
              <a:rPr lang="en-US" altLang="zh-CN" sz="1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wait</a:t>
            </a:r>
            <a:endParaRPr lang="en-US" altLang="zh-CN" sz="1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04046" y="3373857"/>
            <a:ext cx="1158315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4040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wait</a:t>
            </a:r>
            <a:r>
              <a:rPr lang="zh-CN" altLang="en-US" dirty="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后面接一个会</a:t>
            </a:r>
            <a:r>
              <a:rPr lang="en-US" altLang="zh-CN" dirty="0">
                <a:solidFill>
                  <a:srgbClr val="40404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turn new promise</a:t>
            </a:r>
            <a:r>
              <a:rPr lang="zh-CN" altLang="en-US" dirty="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的函数并执行</a:t>
            </a:r>
            <a:r>
              <a:rPr lang="zh-CN" altLang="en-US" dirty="0" smtClean="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它</a:t>
            </a:r>
            <a:endParaRPr lang="en-US" altLang="zh-CN" dirty="0" smtClean="0">
              <a:solidFill>
                <a:srgbClr val="40404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wait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只能放在</a:t>
            </a:r>
            <a:r>
              <a:rPr lang="en-US" altLang="zh-CN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ync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函数</a:t>
            </a:r>
            <a:r>
              <a:rPr lang="zh-CN" altLang="en-US" dirty="0" smtClean="0">
                <a:latin typeface="Tahoma" panose="020B0604030504040204" pitchFamily="34" charset="0"/>
                <a:cs typeface="Tahoma" panose="020B0604030504040204" pitchFamily="34" charset="0"/>
              </a:rPr>
              <a:t>里</a:t>
            </a:r>
            <a:endParaRPr lang="en-US" altLang="zh-CN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altLang="zh-CN" dirty="0" err="1">
                <a:solidFill>
                  <a:srgbClr val="569CD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ync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function (data) {</a:t>
            </a:r>
          </a:p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let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employees = </a:t>
            </a:r>
            <a:r>
              <a:rPr lang="en-US" altLang="zh-CN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SON.parse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data);</a:t>
            </a:r>
          </a:p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for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(let </a:t>
            </a:r>
            <a:r>
              <a:rPr lang="en-US" altLang="zh-CN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= 0; </a:t>
            </a:r>
            <a:r>
              <a:rPr lang="en-US" altLang="zh-CN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&lt; </a:t>
            </a:r>
            <a:r>
              <a:rPr lang="en-US" altLang="zh-CN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mployees.length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 </a:t>
            </a:r>
            <a:r>
              <a:rPr lang="en-US" altLang="zh-CN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</a:t>
            </a:r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+) 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{</a:t>
            </a:r>
          </a:p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	</a:t>
            </a:r>
            <a:r>
              <a:rPr lang="en-US" altLang="zh-CN" dirty="0">
                <a:solidFill>
                  <a:srgbClr val="C586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wait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altLang="zh-CN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miseInquire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`${employees[</a:t>
            </a:r>
            <a:r>
              <a:rPr lang="en-US" altLang="zh-CN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].</a:t>
            </a:r>
            <a:r>
              <a:rPr lang="en-US" altLang="zh-CN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q_start_t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}`, `${employees[</a:t>
            </a:r>
            <a:r>
              <a:rPr lang="en-US" altLang="zh-CN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].</a:t>
            </a:r>
            <a:r>
              <a:rPr lang="en-US" altLang="zh-CN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q_end_t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}`, </a:t>
            </a:r>
          </a:p>
          <a:p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`${employees[</a:t>
            </a:r>
            <a:r>
              <a:rPr lang="en-US" altLang="zh-CN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].</a:t>
            </a:r>
            <a:r>
              <a:rPr lang="en-US" altLang="zh-CN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mployeeIdOrName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}`, false);</a:t>
            </a:r>
          </a:p>
          <a:p>
            <a:r>
              <a:rPr lang="en-US" altLang="zh-CN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   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}</a:t>
            </a:r>
            <a:endParaRPr lang="en-US" altLang="zh-CN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}</a:t>
            </a:r>
          </a:p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wait</a:t>
            </a:r>
            <a:r>
              <a:rPr lang="zh-CN" altLang="en-US" dirty="0" smtClean="0">
                <a:latin typeface="Tahoma" panose="020B0604030504040204" pitchFamily="34" charset="0"/>
                <a:cs typeface="Tahoma" panose="020B0604030504040204" pitchFamily="34" charset="0"/>
              </a:rPr>
              <a:t>会先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执行</a:t>
            </a:r>
            <a:r>
              <a:rPr lang="en-US" altLang="zh-CN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ync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外面</a:t>
            </a:r>
            <a:r>
              <a:rPr lang="zh-CN" altLang="en-US" dirty="0" smtClean="0">
                <a:latin typeface="Tahoma" panose="020B0604030504040204" pitchFamily="34" charset="0"/>
                <a:cs typeface="Tahoma" panose="020B0604030504040204" pitchFamily="34" charset="0"/>
              </a:rPr>
              <a:t>的</a:t>
            </a:r>
            <a:r>
              <a:rPr lang="en-US" altLang="zh-CN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miseInquire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代码</a:t>
            </a:r>
            <a:r>
              <a:rPr lang="zh-CN" altLang="en-US" dirty="0" smtClean="0">
                <a:latin typeface="Tahoma" panose="020B0604030504040204" pitchFamily="34" charset="0"/>
                <a:cs typeface="Tahoma" panose="020B0604030504040204" pitchFamily="34" charset="0"/>
              </a:rPr>
              <a:t>，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等着 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mise</a:t>
            </a:r>
            <a:r>
              <a:rPr lang="zh-CN" altLang="en-US" dirty="0" smtClean="0">
                <a:latin typeface="Tahoma" panose="020B0604030504040204" pitchFamily="34" charset="0"/>
                <a:cs typeface="Tahoma" panose="020B0604030504040204" pitchFamily="34" charset="0"/>
              </a:rPr>
              <a:t>对象</a:t>
            </a:r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ulfilled</a:t>
            </a:r>
            <a:r>
              <a:rPr lang="zh-CN" altLang="en-US" dirty="0">
                <a:latin typeface="Tahoma" panose="020B0604030504040204" pitchFamily="34" charset="0"/>
                <a:cs typeface="Tahoma" panose="020B0604030504040204" pitchFamily="34" charset="0"/>
              </a:rPr>
              <a:t>，</a:t>
            </a:r>
            <a:r>
              <a:rPr lang="zh-CN" altLang="en-US" dirty="0" smtClean="0">
                <a:latin typeface="Tahoma" panose="020B0604030504040204" pitchFamily="34" charset="0"/>
                <a:cs typeface="Tahoma" panose="020B0604030504040204" pitchFamily="34" charset="0"/>
              </a:rPr>
              <a:t>然后执行下一次循环。</a:t>
            </a:r>
            <a:endParaRPr lang="en-US" altLang="zh-CN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04046" y="5866847"/>
            <a:ext cx="1524754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QLit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04046" y="6124816"/>
            <a:ext cx="1158315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33333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QLite </a:t>
            </a:r>
            <a:r>
              <a:rPr lang="zh-CN" altLang="en-US" dirty="0" smtClean="0">
                <a:solidFill>
                  <a:srgbClr val="333333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实</a:t>
            </a:r>
            <a:r>
              <a:rPr lang="zh-CN" altLang="en-US" dirty="0">
                <a:solidFill>
                  <a:srgbClr val="333333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现了自给自足的、无服务器的、零配置的、事务性的 </a:t>
            </a:r>
            <a:r>
              <a:rPr lang="en-US" altLang="zh-CN" dirty="0">
                <a:solidFill>
                  <a:srgbClr val="33333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QL </a:t>
            </a:r>
            <a:r>
              <a:rPr lang="zh-CN" altLang="en-US" dirty="0">
                <a:solidFill>
                  <a:srgbClr val="333333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数据库引擎。源代码不受版权限</a:t>
            </a:r>
            <a:r>
              <a:rPr lang="zh-CN" altLang="en-US" dirty="0" smtClean="0">
                <a:solidFill>
                  <a:srgbClr val="333333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制</a:t>
            </a:r>
            <a:r>
              <a:rPr lang="zh-CN" altLang="en-US" dirty="0">
                <a:solidFill>
                  <a:srgbClr val="333333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。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1197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smiley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3338" y="1384682"/>
            <a:ext cx="3790109" cy="3804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2843676" y="4348619"/>
            <a:ext cx="4037493" cy="1165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699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9596" tIns="44798" rIns="89596" bIns="44798">
            <a:spAutoFit/>
          </a:bodyPr>
          <a:lstStyle>
            <a:lvl1pPr defTabSz="915988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defTabSz="915988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915988" defTabSz="915988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defTabSz="915988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defTabSz="915988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defTabSz="91598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defTabSz="91598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defTabSz="91598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defTabSz="915988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algn="ctr"/>
            <a:r>
              <a:rPr kumimoji="0" lang="en-US" altLang="zh-TW" sz="7057" dirty="0">
                <a:solidFill>
                  <a:srgbClr val="00506E"/>
                </a:solidFill>
                <a:latin typeface="Monotype Corsiva" pitchFamily="66" charset="0"/>
                <a:ea typeface="Gungsuh" pitchFamily="18" charset="-127"/>
              </a:rPr>
              <a:t>Thank You !</a:t>
            </a:r>
            <a:r>
              <a:rPr kumimoji="0" lang="en-US" altLang="zh-TW" sz="7057" dirty="0">
                <a:solidFill>
                  <a:srgbClr val="00506E"/>
                </a:solidFill>
                <a:latin typeface="Monotype Corsiva" pitchFamily="66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048539244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chimes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 Process Flow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46" name="Group141"/>
          <p:cNvGrpSpPr/>
          <p:nvPr/>
        </p:nvGrpSpPr>
        <p:grpSpPr>
          <a:xfrm>
            <a:off x="2964984" y="351997"/>
            <a:ext cx="6364327" cy="6283538"/>
            <a:chOff x="1393637" y="318720"/>
            <a:chExt cx="6364327" cy="6283538"/>
          </a:xfrm>
        </p:grpSpPr>
        <p:sp>
          <p:nvSpPr>
            <p:cNvPr id="147" name="外部交互方"/>
            <p:cNvSpPr/>
            <p:nvPr/>
          </p:nvSpPr>
          <p:spPr>
            <a:xfrm>
              <a:off x="2699522" y="1667718"/>
              <a:ext cx="1041200" cy="4810800"/>
            </a:xfrm>
            <a:custGeom>
              <a:avLst/>
              <a:gdLst>
                <a:gd name="connsiteX0" fmla="*/ 520600 w 1041200"/>
                <a:gd name="connsiteY0" fmla="*/ 4810800 h 4810800"/>
                <a:gd name="connsiteX1" fmla="*/ 520600 w 1041200"/>
                <a:gd name="connsiteY1" fmla="*/ 0 h 4810800"/>
                <a:gd name="connsiteX2" fmla="*/ 1041200 w 1041200"/>
                <a:gd name="connsiteY2" fmla="*/ 2405400 h 4810800"/>
                <a:gd name="connsiteX3" fmla="*/ 0 w 1041200"/>
                <a:gd name="connsiteY3" fmla="*/ 2405400 h 4810800"/>
                <a:gd name="connsiteX4" fmla="*/ 520600 w 1041200"/>
                <a:gd name="connsiteY4" fmla="*/ 2405400 h 4810800"/>
                <a:gd name="connsiteX5" fmla="*/ 0 w 1041200"/>
                <a:gd name="connsiteY5" fmla="*/ 1202700 h 4810800"/>
                <a:gd name="connsiteX6" fmla="*/ 0 w 1041200"/>
                <a:gd name="connsiteY6" fmla="*/ 3608100 h 4810800"/>
                <a:gd name="connsiteX7" fmla="*/ 1041200 w 1041200"/>
                <a:gd name="connsiteY7" fmla="*/ 1202700 h 4810800"/>
                <a:gd name="connsiteX8" fmla="*/ 1041200 w 1041200"/>
                <a:gd name="connsiteY8" fmla="*/ 3608100 h 4810800"/>
                <a:gd name="connsiteX9" fmla="*/ 260300 w 1041200"/>
                <a:gd name="connsiteY9" fmla="*/ 0 h 4810800"/>
                <a:gd name="connsiteX10" fmla="*/ 780900 w 1041200"/>
                <a:gd name="connsiteY10" fmla="*/ 0 h 4810800"/>
                <a:gd name="connsiteX11" fmla="*/ 260300 w 1041200"/>
                <a:gd name="connsiteY11" fmla="*/ 4810800 h 4810800"/>
                <a:gd name="connsiteX12" fmla="*/ 780900 w 1041200"/>
                <a:gd name="connsiteY12" fmla="*/ 4810800 h 481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0" t="0" r="0" b="0"/>
              <a:pathLst>
                <a:path w="1041200" h="4810800">
                  <a:moveTo>
                    <a:pt x="1041200" y="4810800"/>
                  </a:moveTo>
                  <a:lnTo>
                    <a:pt x="1041200" y="0"/>
                  </a:lnTo>
                  <a:lnTo>
                    <a:pt x="0" y="0"/>
                  </a:lnTo>
                  <a:lnTo>
                    <a:pt x="0" y="4810800"/>
                  </a:lnTo>
                  <a:lnTo>
                    <a:pt x="1041200" y="4810800"/>
                  </a:lnTo>
                  <a:close/>
                </a:path>
              </a:pathLst>
            </a:custGeom>
            <a:solidFill>
              <a:srgbClr val="F7F3EE"/>
            </a:solidFill>
            <a:ln w="7600" cap="flat">
              <a:solidFill>
                <a:srgbClr val="F7F3EE"/>
              </a:solidFill>
              <a:bevel/>
            </a:ln>
          </p:spPr>
        </p:sp>
        <p:sp>
          <p:nvSpPr>
            <p:cNvPr id="148" name="外部交互方"/>
            <p:cNvSpPr/>
            <p:nvPr/>
          </p:nvSpPr>
          <p:spPr>
            <a:xfrm>
              <a:off x="3766683" y="2041440"/>
              <a:ext cx="3991269" cy="2385085"/>
            </a:xfrm>
            <a:custGeom>
              <a:avLst/>
              <a:gdLst>
                <a:gd name="connsiteX0" fmla="*/ 1995638 w 3991269"/>
                <a:gd name="connsiteY0" fmla="*/ 2385085 h 2385085"/>
                <a:gd name="connsiteX1" fmla="*/ 1995638 w 3991269"/>
                <a:gd name="connsiteY1" fmla="*/ 0 h 2385085"/>
                <a:gd name="connsiteX2" fmla="*/ 3991269 w 3991269"/>
                <a:gd name="connsiteY2" fmla="*/ 1192539 h 2385085"/>
                <a:gd name="connsiteX3" fmla="*/ 0 w 3991269"/>
                <a:gd name="connsiteY3" fmla="*/ 1192539 h 2385085"/>
                <a:gd name="connsiteX4" fmla="*/ 1995638 w 3991269"/>
                <a:gd name="connsiteY4" fmla="*/ 1192539 h 2385085"/>
                <a:gd name="connsiteX5" fmla="*/ 0 w 3991269"/>
                <a:gd name="connsiteY5" fmla="*/ 596270 h 2385085"/>
                <a:gd name="connsiteX6" fmla="*/ 0 w 3991269"/>
                <a:gd name="connsiteY6" fmla="*/ 1788812 h 2385085"/>
                <a:gd name="connsiteX7" fmla="*/ 3991269 w 3991269"/>
                <a:gd name="connsiteY7" fmla="*/ 596270 h 2385085"/>
                <a:gd name="connsiteX8" fmla="*/ 3991269 w 3991269"/>
                <a:gd name="connsiteY8" fmla="*/ 1788812 h 2385085"/>
                <a:gd name="connsiteX9" fmla="*/ 997819 w 3991269"/>
                <a:gd name="connsiteY9" fmla="*/ 0 h 2385085"/>
                <a:gd name="connsiteX10" fmla="*/ 2993450 w 3991269"/>
                <a:gd name="connsiteY10" fmla="*/ 0 h 2385085"/>
                <a:gd name="connsiteX11" fmla="*/ 997819 w 3991269"/>
                <a:gd name="connsiteY11" fmla="*/ 2385085 h 2385085"/>
                <a:gd name="connsiteX12" fmla="*/ 2993450 w 3991269"/>
                <a:gd name="connsiteY12" fmla="*/ 2385085 h 2385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0" t="0" r="0" b="0"/>
              <a:pathLst>
                <a:path w="3991269" h="2385085">
                  <a:moveTo>
                    <a:pt x="3991269" y="2385085"/>
                  </a:moveTo>
                  <a:lnTo>
                    <a:pt x="3991269" y="0"/>
                  </a:lnTo>
                  <a:lnTo>
                    <a:pt x="0" y="0"/>
                  </a:lnTo>
                  <a:lnTo>
                    <a:pt x="0" y="2385085"/>
                  </a:lnTo>
                  <a:lnTo>
                    <a:pt x="3991269" y="2385085"/>
                  </a:lnTo>
                  <a:close/>
                </a:path>
              </a:pathLst>
            </a:custGeom>
            <a:solidFill>
              <a:srgbClr val="ECF5F8"/>
            </a:solidFill>
            <a:ln w="7600" cap="flat">
              <a:solidFill>
                <a:srgbClr val="ECF5F8"/>
              </a:solidFill>
              <a:bevel/>
            </a:ln>
          </p:spPr>
        </p:sp>
        <p:sp>
          <p:nvSpPr>
            <p:cNvPr id="149" name="Center to center"/>
            <p:cNvSpPr/>
            <p:nvPr/>
          </p:nvSpPr>
          <p:spPr>
            <a:xfrm rot="-2203228">
              <a:off x="1920746" y="1453778"/>
              <a:ext cx="940099" cy="702396"/>
            </a:xfrm>
            <a:custGeom>
              <a:avLst/>
              <a:gdLst/>
              <a:ahLst/>
              <a:cxnLst/>
              <a:rect l="0" t="0" r="0" b="0"/>
              <a:pathLst>
                <a:path w="940099" h="702396" fill="none">
                  <a:moveTo>
                    <a:pt x="0" y="0"/>
                  </a:moveTo>
                  <a:cubicBezTo>
                    <a:pt x="379043" y="-184366"/>
                    <a:pt x="965460" y="-184366"/>
                    <a:pt x="1172834" y="0"/>
                  </a:cubicBezTo>
                </a:path>
              </a:pathLst>
            </a:custGeom>
            <a:solidFill>
              <a:srgbClr val="FFFFFF"/>
            </a:solidFill>
            <a:ln w="7600" cap="flat">
              <a:solidFill>
                <a:srgbClr val="BC7163"/>
              </a:solidFill>
              <a:bevel/>
              <a:headEnd type="triangle" w="med" len="med"/>
            </a:ln>
          </p:spPr>
        </p:sp>
        <p:sp>
          <p:nvSpPr>
            <p:cNvPr id="150" name="External entity"/>
            <p:cNvSpPr/>
            <p:nvPr/>
          </p:nvSpPr>
          <p:spPr>
            <a:xfrm>
              <a:off x="1452163" y="504727"/>
              <a:ext cx="703748" cy="359055"/>
            </a:xfrm>
            <a:custGeom>
              <a:avLst/>
              <a:gdLst>
                <a:gd name="connsiteX0" fmla="*/ 351874 w 703748"/>
                <a:gd name="connsiteY0" fmla="*/ 359055 h 359055"/>
                <a:gd name="connsiteX1" fmla="*/ 351874 w 703748"/>
                <a:gd name="connsiteY1" fmla="*/ 0 h 359055"/>
                <a:gd name="connsiteX2" fmla="*/ 703748 w 703748"/>
                <a:gd name="connsiteY2" fmla="*/ 179528 h 359055"/>
                <a:gd name="connsiteX3" fmla="*/ 0 w 703748"/>
                <a:gd name="connsiteY3" fmla="*/ 179528 h 359055"/>
                <a:gd name="connsiteX4" fmla="*/ 351874 w 703748"/>
                <a:gd name="connsiteY4" fmla="*/ 179528 h 359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3748" h="359055">
                  <a:moveTo>
                    <a:pt x="703748" y="359055"/>
                  </a:moveTo>
                  <a:lnTo>
                    <a:pt x="703748" y="0"/>
                  </a:lnTo>
                  <a:lnTo>
                    <a:pt x="0" y="0"/>
                  </a:lnTo>
                  <a:lnTo>
                    <a:pt x="0" y="359055"/>
                  </a:lnTo>
                  <a:lnTo>
                    <a:pt x="703748" y="359055"/>
                  </a:lnTo>
                  <a:close/>
                </a:path>
              </a:pathLst>
            </a:custGeom>
            <a:solidFill>
              <a:srgbClr val="92D050"/>
            </a:solidFill>
            <a:ln w="15200" cap="flat">
              <a:solidFill>
                <a:srgbClr val="92D050"/>
              </a:solidFill>
              <a:bevel/>
            </a:ln>
          </p:spPr>
          <p:txBody>
            <a:bodyPr wrap="square" lIns="36000" tIns="0" rIns="36000" bIns="0" rtlCol="0" anchor="ctr"/>
            <a:lstStyle/>
            <a:p>
              <a:pPr algn="ctr">
                <a:lnSpc>
                  <a:spcPct val="100000"/>
                </a:lnSpc>
              </a:pPr>
              <a:r>
                <a:rPr sz="760" dirty="0">
                  <a:solidFill>
                    <a:srgbClr val="FFFFFF"/>
                  </a:solidFill>
                  <a:latin typeface="Tahoma"/>
                </a:rPr>
                <a:t>JSON employee.txt</a:t>
              </a:r>
            </a:p>
          </p:txBody>
        </p:sp>
        <p:sp>
          <p:nvSpPr>
            <p:cNvPr id="151" name="Data store"/>
            <p:cNvSpPr/>
            <p:nvPr/>
          </p:nvSpPr>
          <p:spPr>
            <a:xfrm>
              <a:off x="4493125" y="2421979"/>
              <a:ext cx="842285" cy="359055"/>
            </a:xfrm>
            <a:custGeom>
              <a:avLst/>
              <a:gdLst>
                <a:gd name="connsiteX0" fmla="*/ 421143 w 842285"/>
                <a:gd name="connsiteY0" fmla="*/ 359055 h 359055"/>
                <a:gd name="connsiteX1" fmla="*/ 421143 w 842285"/>
                <a:gd name="connsiteY1" fmla="*/ 0 h 359055"/>
                <a:gd name="connsiteX2" fmla="*/ 168457 w 842285"/>
                <a:gd name="connsiteY2" fmla="*/ 0 h 359055"/>
                <a:gd name="connsiteX3" fmla="*/ 673830 w 842285"/>
                <a:gd name="connsiteY3" fmla="*/ 359055 h 359055"/>
                <a:gd name="connsiteX4" fmla="*/ 421143 w 842285"/>
                <a:gd name="connsiteY4" fmla="*/ 179528 h 359055"/>
                <a:gd name="connsiteX5" fmla="*/ 168457 w 842285"/>
                <a:gd name="connsiteY5" fmla="*/ 359055 h 359055"/>
                <a:gd name="connsiteX6" fmla="*/ 673830 w 842285"/>
                <a:gd name="connsiteY6" fmla="*/ 0 h 359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2285" h="359055" fill="none">
                  <a:moveTo>
                    <a:pt x="842285" y="0"/>
                  </a:moveTo>
                  <a:lnTo>
                    <a:pt x="0" y="0"/>
                  </a:lnTo>
                  <a:moveTo>
                    <a:pt x="0" y="359055"/>
                  </a:moveTo>
                  <a:lnTo>
                    <a:pt x="842285" y="359055"/>
                  </a:lnTo>
                </a:path>
              </a:pathLst>
            </a:custGeom>
            <a:solidFill>
              <a:srgbClr val="FFFFFF"/>
            </a:solidFill>
            <a:ln w="22800" cap="flat">
              <a:solidFill>
                <a:srgbClr val="BC7163"/>
              </a:solidFill>
              <a:bevel/>
            </a:ln>
          </p:spPr>
          <p:txBody>
            <a:bodyPr wrap="square" lIns="36000" tIns="0" rIns="36000" bIns="0" rtlCol="0" anchor="ctr"/>
            <a:lstStyle/>
            <a:p>
              <a:pPr algn="ctr">
                <a:lnSpc>
                  <a:spcPct val="100000"/>
                </a:lnSpc>
              </a:pPr>
              <a:r>
                <a:rPr sz="760">
                  <a:solidFill>
                    <a:srgbClr val="53A1D4"/>
                  </a:solidFill>
                  <a:latin typeface="Tahoma"/>
                </a:rPr>
                <a:t>kq_clock_time</a:t>
              </a:r>
            </a:p>
          </p:txBody>
        </p:sp>
        <p:sp>
          <p:nvSpPr>
            <p:cNvPr id="152" name="State"/>
            <p:cNvSpPr/>
            <p:nvPr/>
          </p:nvSpPr>
          <p:spPr>
            <a:xfrm>
              <a:off x="2680524" y="318720"/>
              <a:ext cx="1060198" cy="1060198"/>
            </a:xfrm>
            <a:custGeom>
              <a:avLst/>
              <a:gdLst>
                <a:gd name="connsiteX0" fmla="*/ 530099 w 1060198"/>
                <a:gd name="connsiteY0" fmla="*/ 0 h 1060198"/>
                <a:gd name="connsiteX1" fmla="*/ 530099 w 1060198"/>
                <a:gd name="connsiteY1" fmla="*/ 1060198 h 1060198"/>
                <a:gd name="connsiteX2" fmla="*/ 0 w 1060198"/>
                <a:gd name="connsiteY2" fmla="*/ 530099 h 1060198"/>
                <a:gd name="connsiteX3" fmla="*/ 1060198 w 1060198"/>
                <a:gd name="connsiteY3" fmla="*/ 530099 h 1060198"/>
                <a:gd name="connsiteX4" fmla="*/ 530099 w 1060198"/>
                <a:gd name="connsiteY4" fmla="*/ 530099 h 1060198"/>
                <a:gd name="connsiteX5" fmla="*/ 116622 w 1060198"/>
                <a:gd name="connsiteY5" fmla="*/ 212040 h 1060198"/>
                <a:gd name="connsiteX6" fmla="*/ 63612 w 1060198"/>
                <a:gd name="connsiteY6" fmla="*/ 784546 h 1060198"/>
                <a:gd name="connsiteX7" fmla="*/ 243846 w 1060198"/>
                <a:gd name="connsiteY7" fmla="*/ 985984 h 1060198"/>
                <a:gd name="connsiteX8" fmla="*/ 816352 w 1060198"/>
                <a:gd name="connsiteY8" fmla="*/ 975382 h 1060198"/>
                <a:gd name="connsiteX9" fmla="*/ 996586 w 1060198"/>
                <a:gd name="connsiteY9" fmla="*/ 795148 h 1060198"/>
                <a:gd name="connsiteX10" fmla="*/ 1007188 w 1060198"/>
                <a:gd name="connsiteY10" fmla="*/ 286253 h 1060198"/>
                <a:gd name="connsiteX11" fmla="*/ 805750 w 1060198"/>
                <a:gd name="connsiteY11" fmla="*/ 95418 h 1060198"/>
                <a:gd name="connsiteX12" fmla="*/ 296855 w 1060198"/>
                <a:gd name="connsiteY12" fmla="*/ 53010 h 106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60198" h="1060198">
                  <a:moveTo>
                    <a:pt x="0" y="530099"/>
                  </a:moveTo>
                  <a:cubicBezTo>
                    <a:pt x="-20" y="237319"/>
                    <a:pt x="237319" y="-37"/>
                    <a:pt x="530099" y="-37"/>
                  </a:cubicBezTo>
                  <a:cubicBezTo>
                    <a:pt x="822879" y="-37"/>
                    <a:pt x="1060218" y="237319"/>
                    <a:pt x="1060198" y="530099"/>
                  </a:cubicBezTo>
                  <a:cubicBezTo>
                    <a:pt x="1060177" y="822850"/>
                    <a:pt x="822850" y="1060161"/>
                    <a:pt x="530099" y="1060161"/>
                  </a:cubicBezTo>
                  <a:cubicBezTo>
                    <a:pt x="237348" y="1060161"/>
                    <a:pt x="20" y="822850"/>
                    <a:pt x="0" y="530099"/>
                  </a:cubicBezTo>
                  <a:close/>
                </a:path>
              </a:pathLst>
            </a:custGeom>
            <a:solidFill>
              <a:srgbClr val="0070C0"/>
            </a:solidFill>
            <a:ln w="15200" cap="flat">
              <a:solidFill>
                <a:srgbClr val="0070C0"/>
              </a:solidFill>
              <a:bevel/>
            </a:ln>
          </p:spPr>
          <p:txBody>
            <a:bodyPr wrap="square" lIns="36000" tIns="0" rIns="36000" bIns="0" rtlCol="0" anchor="ctr"/>
            <a:lstStyle/>
            <a:p>
              <a:pPr algn="ctr">
                <a:lnSpc>
                  <a:spcPct val="100000"/>
                </a:lnSpc>
              </a:pPr>
              <a:r>
                <a:rPr sz="760" b="1" dirty="0">
                  <a:solidFill>
                    <a:srgbClr val="FFFFFF"/>
                  </a:solidFill>
                  <a:latin typeface="Tahoma"/>
                </a:rPr>
                <a:t>Web Crawler</a:t>
              </a:r>
            </a:p>
          </p:txBody>
        </p:sp>
        <p:sp>
          <p:nvSpPr>
            <p:cNvPr id="153" name="Center to center"/>
            <p:cNvSpPr/>
            <p:nvPr/>
          </p:nvSpPr>
          <p:spPr>
            <a:xfrm rot="-9755045">
              <a:off x="2192563" y="609517"/>
              <a:ext cx="524613" cy="164564"/>
            </a:xfrm>
            <a:custGeom>
              <a:avLst/>
              <a:gdLst/>
              <a:ahLst/>
              <a:cxnLst/>
              <a:rect l="0" t="0" r="0" b="0"/>
              <a:pathLst>
                <a:path w="524613" h="164564" fill="none">
                  <a:moveTo>
                    <a:pt x="0" y="0"/>
                  </a:moveTo>
                  <a:cubicBezTo>
                    <a:pt x="96903" y="29331"/>
                    <a:pt x="371813" y="29331"/>
                    <a:pt x="549819" y="0"/>
                  </a:cubicBezTo>
                </a:path>
              </a:pathLst>
            </a:custGeom>
            <a:solidFill>
              <a:srgbClr val="FFFFFF"/>
            </a:solidFill>
            <a:ln w="7600" cap="flat">
              <a:solidFill>
                <a:srgbClr val="BC7163"/>
              </a:solidFill>
              <a:bevel/>
              <a:headEnd type="triangle" w="med" len="med"/>
            </a:ln>
          </p:spPr>
        </p:sp>
        <p:sp>
          <p:nvSpPr>
            <p:cNvPr id="154" name="External entity"/>
            <p:cNvSpPr/>
            <p:nvPr/>
          </p:nvSpPr>
          <p:spPr>
            <a:xfrm>
              <a:off x="1393637" y="1804517"/>
              <a:ext cx="820800" cy="359055"/>
            </a:xfrm>
            <a:custGeom>
              <a:avLst/>
              <a:gdLst>
                <a:gd name="connsiteX0" fmla="*/ 410400 w 820800"/>
                <a:gd name="connsiteY0" fmla="*/ 359055 h 359055"/>
                <a:gd name="connsiteX1" fmla="*/ 410400 w 820800"/>
                <a:gd name="connsiteY1" fmla="*/ 0 h 359055"/>
                <a:gd name="connsiteX2" fmla="*/ 820800 w 820800"/>
                <a:gd name="connsiteY2" fmla="*/ 179528 h 359055"/>
                <a:gd name="connsiteX3" fmla="*/ 0 w 820800"/>
                <a:gd name="connsiteY3" fmla="*/ 179528 h 359055"/>
                <a:gd name="connsiteX4" fmla="*/ 410400 w 820800"/>
                <a:gd name="connsiteY4" fmla="*/ 179528 h 359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0800" h="359055">
                  <a:moveTo>
                    <a:pt x="820800" y="359055"/>
                  </a:moveTo>
                  <a:lnTo>
                    <a:pt x="820800" y="0"/>
                  </a:lnTo>
                  <a:lnTo>
                    <a:pt x="0" y="0"/>
                  </a:lnTo>
                  <a:lnTo>
                    <a:pt x="0" y="359055"/>
                  </a:lnTo>
                  <a:lnTo>
                    <a:pt x="820800" y="359055"/>
                  </a:lnTo>
                  <a:close/>
                </a:path>
              </a:pathLst>
            </a:custGeom>
            <a:solidFill>
              <a:srgbClr val="92D050"/>
            </a:solidFill>
            <a:ln w="15200" cap="flat">
              <a:solidFill>
                <a:srgbClr val="92D050"/>
              </a:solidFill>
              <a:bevel/>
            </a:ln>
          </p:spPr>
          <p:txBody>
            <a:bodyPr wrap="square" lIns="36000" tIns="0" rIns="36000" bIns="0" rtlCol="0" anchor="ctr"/>
            <a:lstStyle/>
            <a:p>
              <a:pPr algn="ctr">
                <a:lnSpc>
                  <a:spcPct val="100000"/>
                </a:lnSpc>
              </a:pPr>
              <a:r>
                <a:rPr sz="760" dirty="0">
                  <a:solidFill>
                    <a:srgbClr val="FFFFFF"/>
                  </a:solidFill>
                  <a:latin typeface="Tahoma"/>
                </a:rPr>
                <a:t>JSON _CLOCK_TIME</a:t>
              </a:r>
            </a:p>
          </p:txBody>
        </p:sp>
        <p:sp>
          <p:nvSpPr>
            <p:cNvPr id="155" name="State"/>
            <p:cNvSpPr/>
            <p:nvPr/>
          </p:nvSpPr>
          <p:spPr>
            <a:xfrm>
              <a:off x="2795925" y="1948915"/>
              <a:ext cx="832116" cy="832116"/>
            </a:xfrm>
            <a:custGeom>
              <a:avLst/>
              <a:gdLst>
                <a:gd name="connsiteX0" fmla="*/ 416057 w 832116"/>
                <a:gd name="connsiteY0" fmla="*/ 0 h 832116"/>
                <a:gd name="connsiteX1" fmla="*/ 416057 w 832116"/>
                <a:gd name="connsiteY1" fmla="*/ 832116 h 832116"/>
                <a:gd name="connsiteX2" fmla="*/ 0 w 832116"/>
                <a:gd name="connsiteY2" fmla="*/ 416057 h 832116"/>
                <a:gd name="connsiteX3" fmla="*/ 832116 w 832116"/>
                <a:gd name="connsiteY3" fmla="*/ 416057 h 832116"/>
                <a:gd name="connsiteX4" fmla="*/ 416057 w 832116"/>
                <a:gd name="connsiteY4" fmla="*/ 416057 h 832116"/>
                <a:gd name="connsiteX5" fmla="*/ 674011 w 832116"/>
                <a:gd name="connsiteY5" fmla="*/ 91532 h 832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116" h="832116">
                  <a:moveTo>
                    <a:pt x="0" y="416057"/>
                  </a:moveTo>
                  <a:cubicBezTo>
                    <a:pt x="0" y="186274"/>
                    <a:pt x="186276" y="-2"/>
                    <a:pt x="416058" y="-2"/>
                  </a:cubicBezTo>
                  <a:cubicBezTo>
                    <a:pt x="645841" y="-2"/>
                    <a:pt x="832116" y="186274"/>
                    <a:pt x="832116" y="416057"/>
                  </a:cubicBezTo>
                  <a:cubicBezTo>
                    <a:pt x="832116" y="645839"/>
                    <a:pt x="645841" y="832115"/>
                    <a:pt x="416058" y="832115"/>
                  </a:cubicBezTo>
                  <a:cubicBezTo>
                    <a:pt x="186276" y="832115"/>
                    <a:pt x="0" y="645839"/>
                    <a:pt x="0" y="416057"/>
                  </a:cubicBezTo>
                  <a:close/>
                </a:path>
              </a:pathLst>
            </a:custGeom>
            <a:solidFill>
              <a:srgbClr val="FF9B89"/>
            </a:solidFill>
            <a:ln w="15200" cap="flat">
              <a:solidFill>
                <a:srgbClr val="FF9B89"/>
              </a:solidFill>
              <a:bevel/>
            </a:ln>
          </p:spPr>
          <p:txBody>
            <a:bodyPr wrap="square" lIns="36000" tIns="0" rIns="36000" bIns="0" rtlCol="0" anchor="ctr"/>
            <a:lstStyle/>
            <a:p>
              <a:pPr algn="ctr">
                <a:lnSpc>
                  <a:spcPct val="100000"/>
                </a:lnSpc>
              </a:pPr>
              <a:r>
                <a:rPr sz="760" dirty="0" err="1">
                  <a:solidFill>
                    <a:srgbClr val="FFFFFF"/>
                  </a:solidFill>
                  <a:latin typeface="Tahoma"/>
                </a:rPr>
                <a:t>getConn</a:t>
              </a:r>
              <a:endParaRPr sz="760" dirty="0">
                <a:solidFill>
                  <a:srgbClr val="FFFFFF"/>
                </a:solidFill>
                <a:latin typeface="Tahoma"/>
              </a:endParaRPr>
            </a:p>
            <a:p>
              <a:pPr algn="ctr">
                <a:lnSpc>
                  <a:spcPct val="100000"/>
                </a:lnSpc>
              </a:pPr>
              <a:r>
                <a:rPr sz="760" dirty="0" err="1">
                  <a:solidFill>
                    <a:srgbClr val="FFFFFF"/>
                  </a:solidFill>
                  <a:latin typeface="Tahoma"/>
                </a:rPr>
                <a:t>openDb</a:t>
              </a:r>
              <a:endParaRPr sz="760" dirty="0">
                <a:solidFill>
                  <a:srgbClr val="FFFFFF"/>
                </a:solidFill>
                <a:latin typeface="Tahoma"/>
              </a:endParaRPr>
            </a:p>
            <a:p>
              <a:pPr algn="ctr">
                <a:lnSpc>
                  <a:spcPct val="100000"/>
                </a:lnSpc>
              </a:pPr>
              <a:r>
                <a:rPr sz="760" dirty="0" err="1">
                  <a:solidFill>
                    <a:srgbClr val="FFFFFF"/>
                  </a:solidFill>
                  <a:latin typeface="Tahoma"/>
                </a:rPr>
                <a:t>createSchema</a:t>
              </a:r>
              <a:endParaRPr sz="760" dirty="0">
                <a:solidFill>
                  <a:srgbClr val="FFFFFF"/>
                </a:solidFill>
                <a:latin typeface="Tahoma"/>
              </a:endParaRPr>
            </a:p>
          </p:txBody>
        </p:sp>
        <p:sp>
          <p:nvSpPr>
            <p:cNvPr id="156" name="Center to center"/>
            <p:cNvSpPr/>
            <p:nvPr/>
          </p:nvSpPr>
          <p:spPr>
            <a:xfrm rot="-8806297">
              <a:off x="2366345" y="1855865"/>
              <a:ext cx="581489" cy="380927"/>
            </a:xfrm>
            <a:custGeom>
              <a:avLst/>
              <a:gdLst/>
              <a:ahLst/>
              <a:cxnLst/>
              <a:rect l="0" t="0" r="0" b="0"/>
              <a:pathLst>
                <a:path w="581489" h="380927" fill="none">
                  <a:moveTo>
                    <a:pt x="0" y="0"/>
                  </a:moveTo>
                  <a:cubicBezTo>
                    <a:pt x="122518" y="29331"/>
                    <a:pt x="470093" y="29331"/>
                    <a:pt x="695151" y="0"/>
                  </a:cubicBezTo>
                </a:path>
              </a:pathLst>
            </a:custGeom>
            <a:solidFill>
              <a:srgbClr val="FFFFFF"/>
            </a:solidFill>
            <a:ln w="7600" cap="flat">
              <a:solidFill>
                <a:srgbClr val="BC7163"/>
              </a:solidFill>
              <a:bevel/>
              <a:headEnd type="triangle" w="med" len="med"/>
            </a:ln>
          </p:spPr>
        </p:sp>
        <p:sp>
          <p:nvSpPr>
            <p:cNvPr id="157" name="Center to center"/>
            <p:cNvSpPr/>
            <p:nvPr/>
          </p:nvSpPr>
          <p:spPr>
            <a:xfrm rot="-9912172">
              <a:off x="3550083" y="1804763"/>
              <a:ext cx="1444331" cy="440074"/>
            </a:xfrm>
            <a:custGeom>
              <a:avLst/>
              <a:gdLst/>
              <a:ahLst/>
              <a:cxnLst/>
              <a:rect l="0" t="0" r="0" b="0"/>
              <a:pathLst>
                <a:path w="1444331" h="440074" fill="none">
                  <a:moveTo>
                    <a:pt x="0" y="0"/>
                  </a:moveTo>
                  <a:cubicBezTo>
                    <a:pt x="406646" y="257802"/>
                    <a:pt x="1153583" y="257802"/>
                    <a:pt x="1493874" y="0"/>
                  </a:cubicBezTo>
                </a:path>
              </a:pathLst>
            </a:custGeom>
            <a:solidFill>
              <a:srgbClr val="FFFFFF"/>
            </a:solidFill>
            <a:ln w="7600" cap="flat">
              <a:solidFill>
                <a:srgbClr val="BC7163"/>
              </a:solidFill>
              <a:bevel/>
              <a:headEnd type="triangle" w="med" len="med"/>
            </a:ln>
          </p:spPr>
        </p:sp>
        <p:sp>
          <p:nvSpPr>
            <p:cNvPr id="158" name="State"/>
            <p:cNvSpPr/>
            <p:nvPr/>
          </p:nvSpPr>
          <p:spPr>
            <a:xfrm>
              <a:off x="2836319" y="2820856"/>
              <a:ext cx="802461" cy="802461"/>
            </a:xfrm>
            <a:custGeom>
              <a:avLst/>
              <a:gdLst>
                <a:gd name="connsiteX0" fmla="*/ 401229 w 802461"/>
                <a:gd name="connsiteY0" fmla="*/ 0 h 802461"/>
                <a:gd name="connsiteX1" fmla="*/ 401229 w 802461"/>
                <a:gd name="connsiteY1" fmla="*/ 802461 h 802461"/>
                <a:gd name="connsiteX2" fmla="*/ 0 w 802461"/>
                <a:gd name="connsiteY2" fmla="*/ 401229 h 802461"/>
                <a:gd name="connsiteX3" fmla="*/ 802461 w 802461"/>
                <a:gd name="connsiteY3" fmla="*/ 401229 h 802461"/>
                <a:gd name="connsiteX4" fmla="*/ 401229 w 802461"/>
                <a:gd name="connsiteY4" fmla="*/ 401229 h 802461"/>
                <a:gd name="connsiteX5" fmla="*/ 649991 w 802461"/>
                <a:gd name="connsiteY5" fmla="*/ 88270 h 802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2461" h="802461">
                  <a:moveTo>
                    <a:pt x="0" y="401229"/>
                  </a:moveTo>
                  <a:cubicBezTo>
                    <a:pt x="0" y="179636"/>
                    <a:pt x="179637" y="-2"/>
                    <a:pt x="401231" y="-2"/>
                  </a:cubicBezTo>
                  <a:cubicBezTo>
                    <a:pt x="622824" y="-2"/>
                    <a:pt x="802461" y="179636"/>
                    <a:pt x="802461" y="401229"/>
                  </a:cubicBezTo>
                  <a:cubicBezTo>
                    <a:pt x="802461" y="622823"/>
                    <a:pt x="622824" y="802460"/>
                    <a:pt x="401231" y="802460"/>
                  </a:cubicBezTo>
                  <a:cubicBezTo>
                    <a:pt x="179637" y="802460"/>
                    <a:pt x="0" y="622823"/>
                    <a:pt x="0" y="401229"/>
                  </a:cubicBezTo>
                  <a:close/>
                </a:path>
              </a:pathLst>
            </a:custGeom>
            <a:solidFill>
              <a:srgbClr val="FF9B89"/>
            </a:solidFill>
            <a:ln w="15200" cap="flat">
              <a:solidFill>
                <a:srgbClr val="FF9B89"/>
              </a:solidFill>
              <a:bevel/>
            </a:ln>
          </p:spPr>
          <p:txBody>
            <a:bodyPr wrap="square" lIns="36000" tIns="0" rIns="36000" bIns="0" rtlCol="0" anchor="ctr"/>
            <a:lstStyle/>
            <a:p>
              <a:pPr algn="ctr">
                <a:lnSpc>
                  <a:spcPct val="100000"/>
                </a:lnSpc>
              </a:pPr>
              <a:r>
                <a:rPr sz="760">
                  <a:solidFill>
                    <a:srgbClr val="FFFFFF"/>
                  </a:solidFill>
                  <a:latin typeface="Tahoma"/>
                </a:rPr>
                <a:t>calculateClockData</a:t>
              </a:r>
            </a:p>
          </p:txBody>
        </p:sp>
        <p:sp>
          <p:nvSpPr>
            <p:cNvPr id="159" name="Center to center"/>
            <p:cNvSpPr/>
            <p:nvPr/>
          </p:nvSpPr>
          <p:spPr>
            <a:xfrm rot="-1144492">
              <a:off x="3675677" y="3000637"/>
              <a:ext cx="1281130" cy="441051"/>
            </a:xfrm>
            <a:custGeom>
              <a:avLst/>
              <a:gdLst/>
              <a:ahLst/>
              <a:cxnLst/>
              <a:rect l="0" t="0" r="0" b="0"/>
              <a:pathLst>
                <a:path w="1281130" h="441051" fill="none">
                  <a:moveTo>
                    <a:pt x="0" y="0"/>
                  </a:moveTo>
                  <a:cubicBezTo>
                    <a:pt x="-32512" y="-127912"/>
                    <a:pt x="642284" y="-127912"/>
                    <a:pt x="1349590" y="0"/>
                  </a:cubicBezTo>
                </a:path>
              </a:pathLst>
            </a:custGeom>
            <a:solidFill>
              <a:srgbClr val="FFFFFF"/>
            </a:solidFill>
            <a:ln w="7600" cap="flat">
              <a:solidFill>
                <a:srgbClr val="BC7163"/>
              </a:solidFill>
              <a:bevel/>
              <a:headEnd type="triangle" w="med" len="med"/>
            </a:ln>
          </p:spPr>
        </p:sp>
        <p:sp>
          <p:nvSpPr>
            <p:cNvPr id="160" name="Text 142"/>
            <p:cNvSpPr txBox="1"/>
            <p:nvPr/>
          </p:nvSpPr>
          <p:spPr>
            <a:xfrm>
              <a:off x="7283488" y="2041436"/>
              <a:ext cx="474476" cy="272437"/>
            </a:xfrm>
            <a:prstGeom prst="rect">
              <a:avLst/>
            </a:prstGeom>
            <a:noFill/>
          </p:spPr>
          <p:txBody>
            <a:bodyPr wrap="square" lIns="0" tIns="0" rIns="0" bIns="0" rtlCol="0" anchor="t"/>
            <a:lstStyle/>
            <a:p>
              <a:pPr algn="l">
                <a:lnSpc>
                  <a:spcPct val="100000"/>
                </a:lnSpc>
              </a:pPr>
              <a:r>
                <a:rPr sz="1292">
                  <a:solidFill>
                    <a:srgbClr val="868686"/>
                  </a:solidFill>
                  <a:latin typeface="Tahoma"/>
                </a:rPr>
                <a:t>sqlite  </a:t>
              </a:r>
            </a:p>
          </p:txBody>
        </p:sp>
        <p:sp>
          <p:nvSpPr>
            <p:cNvPr id="161" name="Data store"/>
            <p:cNvSpPr/>
            <p:nvPr/>
          </p:nvSpPr>
          <p:spPr>
            <a:xfrm>
              <a:off x="5946040" y="3384238"/>
              <a:ext cx="842285" cy="359055"/>
            </a:xfrm>
            <a:custGeom>
              <a:avLst/>
              <a:gdLst>
                <a:gd name="connsiteX0" fmla="*/ 421143 w 842285"/>
                <a:gd name="connsiteY0" fmla="*/ 359055 h 359055"/>
                <a:gd name="connsiteX1" fmla="*/ 421143 w 842285"/>
                <a:gd name="connsiteY1" fmla="*/ 0 h 359055"/>
                <a:gd name="connsiteX2" fmla="*/ 168457 w 842285"/>
                <a:gd name="connsiteY2" fmla="*/ 0 h 359055"/>
                <a:gd name="connsiteX3" fmla="*/ 673830 w 842285"/>
                <a:gd name="connsiteY3" fmla="*/ 359055 h 359055"/>
                <a:gd name="connsiteX4" fmla="*/ 421143 w 842285"/>
                <a:gd name="connsiteY4" fmla="*/ 179528 h 359055"/>
                <a:gd name="connsiteX5" fmla="*/ 168457 w 842285"/>
                <a:gd name="connsiteY5" fmla="*/ 359055 h 359055"/>
                <a:gd name="connsiteX6" fmla="*/ 673830 w 842285"/>
                <a:gd name="connsiteY6" fmla="*/ 0 h 359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2285" h="359055" fill="none">
                  <a:moveTo>
                    <a:pt x="842285" y="0"/>
                  </a:moveTo>
                  <a:lnTo>
                    <a:pt x="0" y="0"/>
                  </a:lnTo>
                  <a:moveTo>
                    <a:pt x="0" y="359055"/>
                  </a:moveTo>
                  <a:lnTo>
                    <a:pt x="842285" y="359055"/>
                  </a:lnTo>
                </a:path>
              </a:pathLst>
            </a:custGeom>
            <a:solidFill>
              <a:srgbClr val="FFFFFF"/>
            </a:solidFill>
            <a:ln w="22800" cap="flat">
              <a:solidFill>
                <a:srgbClr val="BC7163"/>
              </a:solidFill>
              <a:bevel/>
            </a:ln>
          </p:spPr>
          <p:txBody>
            <a:bodyPr wrap="square" lIns="36000" tIns="0" rIns="36000" bIns="0" rtlCol="0" anchor="ctr"/>
            <a:lstStyle/>
            <a:p>
              <a:pPr algn="ctr">
                <a:lnSpc>
                  <a:spcPct val="100000"/>
                </a:lnSpc>
              </a:pPr>
              <a:r>
                <a:rPr sz="760">
                  <a:solidFill>
                    <a:srgbClr val="53A1D4"/>
                  </a:solidFill>
                  <a:latin typeface="Tahoma"/>
                </a:rPr>
                <a:t>kq_clock_report</a:t>
              </a:r>
            </a:p>
          </p:txBody>
        </p:sp>
        <p:sp>
          <p:nvSpPr>
            <p:cNvPr id="162" name="Center to center"/>
            <p:cNvSpPr/>
            <p:nvPr/>
          </p:nvSpPr>
          <p:spPr>
            <a:xfrm rot="-10595930">
              <a:off x="3652201" y="2932219"/>
              <a:ext cx="2728402" cy="371412"/>
            </a:xfrm>
            <a:custGeom>
              <a:avLst/>
              <a:gdLst/>
              <a:ahLst/>
              <a:cxnLst/>
              <a:rect l="0" t="0" r="0" b="0"/>
              <a:pathLst>
                <a:path w="2728402" h="371412" fill="none">
                  <a:moveTo>
                    <a:pt x="0" y="0"/>
                  </a:moveTo>
                  <a:cubicBezTo>
                    <a:pt x="269498" y="402631"/>
                    <a:pt x="1636106" y="402631"/>
                    <a:pt x="2733217" y="0"/>
                  </a:cubicBezTo>
                </a:path>
              </a:pathLst>
            </a:custGeom>
            <a:solidFill>
              <a:srgbClr val="FFFFFF"/>
            </a:solidFill>
            <a:ln w="7600" cap="flat">
              <a:solidFill>
                <a:srgbClr val="BC7163"/>
              </a:solidFill>
              <a:bevel/>
              <a:headEnd type="triangle" w="med" len="med"/>
            </a:ln>
          </p:spPr>
        </p:sp>
        <p:sp>
          <p:nvSpPr>
            <p:cNvPr id="163" name="State"/>
            <p:cNvSpPr/>
            <p:nvPr/>
          </p:nvSpPr>
          <p:spPr>
            <a:xfrm>
              <a:off x="2883323" y="3725998"/>
              <a:ext cx="792794" cy="792794"/>
            </a:xfrm>
            <a:custGeom>
              <a:avLst/>
              <a:gdLst>
                <a:gd name="connsiteX0" fmla="*/ 396398 w 792794"/>
                <a:gd name="connsiteY0" fmla="*/ 0 h 792794"/>
                <a:gd name="connsiteX1" fmla="*/ 396398 w 792794"/>
                <a:gd name="connsiteY1" fmla="*/ 792794 h 792794"/>
                <a:gd name="connsiteX2" fmla="*/ 0 w 792794"/>
                <a:gd name="connsiteY2" fmla="*/ 396398 h 792794"/>
                <a:gd name="connsiteX3" fmla="*/ 792794 w 792794"/>
                <a:gd name="connsiteY3" fmla="*/ 396398 h 792794"/>
                <a:gd name="connsiteX4" fmla="*/ 396398 w 792794"/>
                <a:gd name="connsiteY4" fmla="*/ 396398 h 792794"/>
                <a:gd name="connsiteX5" fmla="*/ 642164 w 792794"/>
                <a:gd name="connsiteY5" fmla="*/ 87208 h 792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92794" h="792794">
                  <a:moveTo>
                    <a:pt x="0" y="396398"/>
                  </a:moveTo>
                  <a:cubicBezTo>
                    <a:pt x="-47" y="177440"/>
                    <a:pt x="177439" y="-85"/>
                    <a:pt x="396397" y="-85"/>
                  </a:cubicBezTo>
                  <a:cubicBezTo>
                    <a:pt x="615355" y="-85"/>
                    <a:pt x="792841" y="177440"/>
                    <a:pt x="792794" y="396398"/>
                  </a:cubicBezTo>
                  <a:cubicBezTo>
                    <a:pt x="792747" y="615288"/>
                    <a:pt x="615288" y="792709"/>
                    <a:pt x="396397" y="792709"/>
                  </a:cubicBezTo>
                  <a:cubicBezTo>
                    <a:pt x="177506" y="792709"/>
                    <a:pt x="47" y="615288"/>
                    <a:pt x="0" y="396398"/>
                  </a:cubicBezTo>
                  <a:close/>
                </a:path>
              </a:pathLst>
            </a:custGeom>
            <a:solidFill>
              <a:srgbClr val="FF9B89"/>
            </a:solidFill>
            <a:ln w="15200" cap="flat">
              <a:solidFill>
                <a:srgbClr val="FF9B89"/>
              </a:solidFill>
              <a:bevel/>
            </a:ln>
          </p:spPr>
          <p:txBody>
            <a:bodyPr wrap="square" lIns="36000" tIns="0" rIns="36000" bIns="0" rtlCol="0" anchor="ctr"/>
            <a:lstStyle/>
            <a:p>
              <a:pPr algn="ctr">
                <a:lnSpc>
                  <a:spcPct val="100000"/>
                </a:lnSpc>
              </a:pPr>
              <a:r>
                <a:rPr sz="760" dirty="0" err="1">
                  <a:solidFill>
                    <a:srgbClr val="FFFFFF"/>
                  </a:solidFill>
                  <a:latin typeface="Tahoma"/>
                </a:rPr>
                <a:t>getClockReportData</a:t>
              </a:r>
              <a:endParaRPr sz="760" dirty="0">
                <a:solidFill>
                  <a:srgbClr val="FFFFFF"/>
                </a:solidFill>
                <a:latin typeface="Tahoma"/>
              </a:endParaRPr>
            </a:p>
          </p:txBody>
        </p:sp>
        <p:sp>
          <p:nvSpPr>
            <p:cNvPr id="164" name="Center to center"/>
            <p:cNvSpPr/>
            <p:nvPr/>
          </p:nvSpPr>
          <p:spPr>
            <a:xfrm rot="-481126">
              <a:off x="3702632" y="3931613"/>
              <a:ext cx="2695405" cy="569071"/>
            </a:xfrm>
            <a:custGeom>
              <a:avLst/>
              <a:gdLst/>
              <a:ahLst/>
              <a:cxnLst/>
              <a:rect l="0" t="0" r="0" b="0"/>
              <a:pathLst>
                <a:path w="2695405" h="569071" fill="none">
                  <a:moveTo>
                    <a:pt x="0" y="0"/>
                  </a:moveTo>
                  <a:cubicBezTo>
                    <a:pt x="1370790" y="565245"/>
                    <a:pt x="2729609" y="565245"/>
                    <a:pt x="2717638" y="0"/>
                  </a:cubicBezTo>
                </a:path>
              </a:pathLst>
            </a:custGeom>
            <a:solidFill>
              <a:srgbClr val="FFFFFF"/>
            </a:solidFill>
            <a:ln w="7600" cap="flat">
              <a:solidFill>
                <a:srgbClr val="BC7163"/>
              </a:solidFill>
              <a:bevel/>
              <a:headEnd type="triangle" w="med" len="med"/>
            </a:ln>
          </p:spPr>
        </p:sp>
        <p:sp>
          <p:nvSpPr>
            <p:cNvPr id="165" name="State"/>
            <p:cNvSpPr/>
            <p:nvPr/>
          </p:nvSpPr>
          <p:spPr>
            <a:xfrm>
              <a:off x="2883323" y="4621476"/>
              <a:ext cx="792794" cy="792794"/>
            </a:xfrm>
            <a:custGeom>
              <a:avLst/>
              <a:gdLst>
                <a:gd name="connsiteX0" fmla="*/ 396398 w 792794"/>
                <a:gd name="connsiteY0" fmla="*/ 0 h 792794"/>
                <a:gd name="connsiteX1" fmla="*/ 396398 w 792794"/>
                <a:gd name="connsiteY1" fmla="*/ 792794 h 792794"/>
                <a:gd name="connsiteX2" fmla="*/ 0 w 792794"/>
                <a:gd name="connsiteY2" fmla="*/ 396398 h 792794"/>
                <a:gd name="connsiteX3" fmla="*/ 792794 w 792794"/>
                <a:gd name="connsiteY3" fmla="*/ 396398 h 792794"/>
                <a:gd name="connsiteX4" fmla="*/ 396398 w 792794"/>
                <a:gd name="connsiteY4" fmla="*/ 396398 h 792794"/>
                <a:gd name="connsiteX5" fmla="*/ 642164 w 792794"/>
                <a:gd name="connsiteY5" fmla="*/ 87208 h 792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92794" h="792794">
                  <a:moveTo>
                    <a:pt x="0" y="396398"/>
                  </a:moveTo>
                  <a:cubicBezTo>
                    <a:pt x="-47" y="177440"/>
                    <a:pt x="177439" y="-85"/>
                    <a:pt x="396397" y="-85"/>
                  </a:cubicBezTo>
                  <a:cubicBezTo>
                    <a:pt x="615355" y="-85"/>
                    <a:pt x="792841" y="177440"/>
                    <a:pt x="792794" y="396398"/>
                  </a:cubicBezTo>
                  <a:cubicBezTo>
                    <a:pt x="792747" y="615288"/>
                    <a:pt x="615288" y="792709"/>
                    <a:pt x="396397" y="792709"/>
                  </a:cubicBezTo>
                  <a:cubicBezTo>
                    <a:pt x="177506" y="792709"/>
                    <a:pt x="47" y="615288"/>
                    <a:pt x="0" y="396398"/>
                  </a:cubicBezTo>
                  <a:close/>
                </a:path>
              </a:pathLst>
            </a:custGeom>
            <a:solidFill>
              <a:srgbClr val="FF9B89"/>
            </a:solidFill>
            <a:ln w="15200" cap="flat">
              <a:solidFill>
                <a:srgbClr val="FF9B89"/>
              </a:solidFill>
              <a:bevel/>
            </a:ln>
          </p:spPr>
          <p:txBody>
            <a:bodyPr wrap="square" lIns="36000" tIns="0" rIns="36000" bIns="0" rtlCol="0" anchor="ctr"/>
            <a:lstStyle/>
            <a:p>
              <a:pPr algn="ctr">
                <a:lnSpc>
                  <a:spcPct val="100000"/>
                </a:lnSpc>
              </a:pPr>
              <a:r>
                <a:rPr sz="760" dirty="0">
                  <a:solidFill>
                    <a:srgbClr val="FFFFFF"/>
                  </a:solidFill>
                  <a:latin typeface="Tahoma"/>
                </a:rPr>
                <a:t>export2CSV</a:t>
              </a:r>
            </a:p>
          </p:txBody>
        </p:sp>
        <p:sp>
          <p:nvSpPr>
            <p:cNvPr id="166" name="Center to center"/>
            <p:cNvSpPr/>
            <p:nvPr/>
          </p:nvSpPr>
          <p:spPr>
            <a:xfrm rot="-5400000">
              <a:off x="3113936" y="4353009"/>
              <a:ext cx="434251" cy="895478"/>
            </a:xfrm>
            <a:custGeom>
              <a:avLst/>
              <a:gdLst/>
              <a:ahLst/>
              <a:cxnLst/>
              <a:rect l="0" t="0" r="0" b="0"/>
              <a:pathLst>
                <a:path w="434251" h="895478" fill="none">
                  <a:moveTo>
                    <a:pt x="0" y="0"/>
                  </a:moveTo>
                  <a:cubicBezTo>
                    <a:pt x="147085" y="-579001"/>
                    <a:pt x="594824" y="-579001"/>
                    <a:pt x="895478" y="0"/>
                  </a:cubicBezTo>
                </a:path>
              </a:pathLst>
            </a:custGeom>
            <a:solidFill>
              <a:srgbClr val="FFFFFF"/>
            </a:solidFill>
            <a:ln w="7600" cap="flat">
              <a:solidFill>
                <a:srgbClr val="BC7163"/>
              </a:solidFill>
              <a:bevel/>
              <a:headEnd type="triangle" w="med" len="med"/>
            </a:ln>
          </p:spPr>
        </p:sp>
        <p:grpSp>
          <p:nvGrpSpPr>
            <p:cNvPr id="167" name="软件Excel"/>
            <p:cNvGrpSpPr/>
            <p:nvPr/>
          </p:nvGrpSpPr>
          <p:grpSpPr>
            <a:xfrm>
              <a:off x="5541922" y="4890118"/>
              <a:ext cx="440800" cy="440800"/>
              <a:chOff x="5541922" y="4890118"/>
              <a:chExt cx="440800" cy="440800"/>
            </a:xfrm>
          </p:grpSpPr>
          <p:sp>
            <p:nvSpPr>
              <p:cNvPr id="174" name="Freeform 173"/>
              <p:cNvSpPr/>
              <p:nvPr/>
            </p:nvSpPr>
            <p:spPr>
              <a:xfrm>
                <a:off x="5859762" y="5037826"/>
                <a:ext cx="70760" cy="34892"/>
              </a:xfrm>
              <a:custGeom>
                <a:avLst/>
                <a:gdLst/>
                <a:ahLst/>
                <a:cxnLst/>
                <a:rect l="0" t="0" r="0" b="0"/>
                <a:pathLst>
                  <a:path w="70760" h="34892">
                    <a:moveTo>
                      <a:pt x="0" y="0"/>
                    </a:moveTo>
                    <a:lnTo>
                      <a:pt x="70760" y="0"/>
                    </a:lnTo>
                    <a:lnTo>
                      <a:pt x="70760" y="34892"/>
                    </a:lnTo>
                    <a:lnTo>
                      <a:pt x="0" y="348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2723B"/>
              </a:solidFill>
              <a:ln w="7600" cap="flat">
                <a:noFill/>
                <a:bevel/>
              </a:ln>
            </p:spPr>
          </p:sp>
          <p:sp>
            <p:nvSpPr>
              <p:cNvPr id="175" name="Freeform 174"/>
              <p:cNvSpPr/>
              <p:nvPr/>
            </p:nvSpPr>
            <p:spPr>
              <a:xfrm>
                <a:off x="5859762" y="4985488"/>
                <a:ext cx="70760" cy="34892"/>
              </a:xfrm>
              <a:custGeom>
                <a:avLst/>
                <a:gdLst/>
                <a:ahLst/>
                <a:cxnLst/>
                <a:rect l="0" t="0" r="0" b="0"/>
                <a:pathLst>
                  <a:path w="70760" h="34892">
                    <a:moveTo>
                      <a:pt x="0" y="0"/>
                    </a:moveTo>
                    <a:lnTo>
                      <a:pt x="70760" y="0"/>
                    </a:lnTo>
                    <a:lnTo>
                      <a:pt x="70760" y="34892"/>
                    </a:lnTo>
                    <a:lnTo>
                      <a:pt x="0" y="348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2723B"/>
              </a:solidFill>
              <a:ln w="7600" cap="flat">
                <a:noFill/>
                <a:bevel/>
              </a:ln>
            </p:spPr>
          </p:sp>
          <p:sp>
            <p:nvSpPr>
              <p:cNvPr id="176" name="Freeform 175"/>
              <p:cNvSpPr/>
              <p:nvPr/>
            </p:nvSpPr>
            <p:spPr>
              <a:xfrm>
                <a:off x="5859762" y="5091327"/>
                <a:ext cx="70760" cy="34892"/>
              </a:xfrm>
              <a:custGeom>
                <a:avLst/>
                <a:gdLst/>
                <a:ahLst/>
                <a:cxnLst/>
                <a:rect l="0" t="0" r="0" b="0"/>
                <a:pathLst>
                  <a:path w="70760" h="34892">
                    <a:moveTo>
                      <a:pt x="0" y="0"/>
                    </a:moveTo>
                    <a:lnTo>
                      <a:pt x="70760" y="0"/>
                    </a:lnTo>
                    <a:lnTo>
                      <a:pt x="70760" y="34892"/>
                    </a:lnTo>
                    <a:lnTo>
                      <a:pt x="0" y="348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2723B"/>
              </a:solidFill>
              <a:ln w="7600" cap="flat">
                <a:noFill/>
                <a:bevel/>
              </a:ln>
            </p:spPr>
          </p:sp>
          <p:sp>
            <p:nvSpPr>
              <p:cNvPr id="177" name="Freeform 176"/>
              <p:cNvSpPr/>
              <p:nvPr/>
            </p:nvSpPr>
            <p:spPr>
              <a:xfrm>
                <a:off x="5859762" y="5143665"/>
                <a:ext cx="70760" cy="34892"/>
              </a:xfrm>
              <a:custGeom>
                <a:avLst/>
                <a:gdLst/>
                <a:ahLst/>
                <a:cxnLst/>
                <a:rect l="0" t="0" r="0" b="0"/>
                <a:pathLst>
                  <a:path w="70760" h="34892">
                    <a:moveTo>
                      <a:pt x="0" y="0"/>
                    </a:moveTo>
                    <a:lnTo>
                      <a:pt x="70760" y="0"/>
                    </a:lnTo>
                    <a:lnTo>
                      <a:pt x="70760" y="34892"/>
                    </a:lnTo>
                    <a:lnTo>
                      <a:pt x="0" y="348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2723B"/>
              </a:solidFill>
              <a:ln w="7600" cap="flat">
                <a:noFill/>
                <a:bevel/>
              </a:ln>
            </p:spPr>
          </p:sp>
          <p:sp>
            <p:nvSpPr>
              <p:cNvPr id="178" name="Freeform 177"/>
              <p:cNvSpPr/>
              <p:nvPr/>
            </p:nvSpPr>
            <p:spPr>
              <a:xfrm>
                <a:off x="5859762" y="5197166"/>
                <a:ext cx="70760" cy="34892"/>
              </a:xfrm>
              <a:custGeom>
                <a:avLst/>
                <a:gdLst/>
                <a:ahLst/>
                <a:cxnLst/>
                <a:rect l="0" t="0" r="0" b="0"/>
                <a:pathLst>
                  <a:path w="70760" h="34892">
                    <a:moveTo>
                      <a:pt x="0" y="0"/>
                    </a:moveTo>
                    <a:lnTo>
                      <a:pt x="70760" y="0"/>
                    </a:lnTo>
                    <a:lnTo>
                      <a:pt x="70760" y="34892"/>
                    </a:lnTo>
                    <a:lnTo>
                      <a:pt x="0" y="348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2723B"/>
              </a:solidFill>
              <a:ln w="7600" cap="flat">
                <a:noFill/>
                <a:bevel/>
              </a:ln>
            </p:spPr>
          </p:sp>
          <p:sp>
            <p:nvSpPr>
              <p:cNvPr id="179" name="Freeform 178"/>
              <p:cNvSpPr/>
              <p:nvPr/>
            </p:nvSpPr>
            <p:spPr>
              <a:xfrm>
                <a:off x="5541922" y="4890118"/>
                <a:ext cx="440800" cy="440800"/>
              </a:xfrm>
              <a:custGeom>
                <a:avLst/>
                <a:gdLst/>
                <a:ahLst/>
                <a:cxnLst/>
                <a:rect l="0" t="0" r="0" b="0"/>
                <a:pathLst>
                  <a:path w="440800" h="440800">
                    <a:moveTo>
                      <a:pt x="429200" y="47685"/>
                    </a:moveTo>
                    <a:lnTo>
                      <a:pt x="258680" y="47685"/>
                    </a:lnTo>
                    <a:lnTo>
                      <a:pt x="258680" y="0"/>
                    </a:lnTo>
                    <a:lnTo>
                      <a:pt x="0" y="45359"/>
                    </a:lnTo>
                    <a:lnTo>
                      <a:pt x="0" y="396604"/>
                    </a:lnTo>
                    <a:lnTo>
                      <a:pt x="258680" y="440800"/>
                    </a:lnTo>
                    <a:lnTo>
                      <a:pt x="258680" y="387299"/>
                    </a:lnTo>
                    <a:lnTo>
                      <a:pt x="429200" y="387299"/>
                    </a:lnTo>
                    <a:cubicBezTo>
                      <a:pt x="436160" y="387299"/>
                      <a:pt x="440800" y="381484"/>
                      <a:pt x="440800" y="375669"/>
                    </a:cubicBezTo>
                    <a:lnTo>
                      <a:pt x="440800" y="59316"/>
                    </a:lnTo>
                    <a:cubicBezTo>
                      <a:pt x="440800" y="53501"/>
                      <a:pt x="436160" y="47685"/>
                      <a:pt x="429200" y="47685"/>
                    </a:cubicBezTo>
                    <a:close/>
                    <a:moveTo>
                      <a:pt x="146160" y="298906"/>
                    </a:moveTo>
                    <a:cubicBezTo>
                      <a:pt x="146160" y="298906"/>
                      <a:pt x="121800" y="236102"/>
                      <a:pt x="121800" y="234939"/>
                    </a:cubicBezTo>
                    <a:cubicBezTo>
                      <a:pt x="120640" y="236102"/>
                      <a:pt x="96280" y="295417"/>
                      <a:pt x="96280" y="295417"/>
                    </a:cubicBezTo>
                    <a:lnTo>
                      <a:pt x="63800" y="293092"/>
                    </a:lnTo>
                    <a:lnTo>
                      <a:pt x="102080" y="217492"/>
                    </a:lnTo>
                    <a:lnTo>
                      <a:pt x="67280" y="141894"/>
                    </a:lnTo>
                    <a:lnTo>
                      <a:pt x="99760" y="139567"/>
                    </a:lnTo>
                    <a:cubicBezTo>
                      <a:pt x="99760" y="139567"/>
                      <a:pt x="121800" y="197720"/>
                      <a:pt x="121800" y="198883"/>
                    </a:cubicBezTo>
                    <a:cubicBezTo>
                      <a:pt x="122960" y="197720"/>
                      <a:pt x="147320" y="137242"/>
                      <a:pt x="147320" y="137242"/>
                    </a:cubicBezTo>
                    <a:lnTo>
                      <a:pt x="180960" y="134915"/>
                    </a:lnTo>
                    <a:lnTo>
                      <a:pt x="140360" y="217492"/>
                    </a:lnTo>
                    <a:lnTo>
                      <a:pt x="182120" y="300070"/>
                    </a:lnTo>
                    <a:lnTo>
                      <a:pt x="146160" y="298906"/>
                    </a:lnTo>
                    <a:close/>
                    <a:moveTo>
                      <a:pt x="425720" y="374505"/>
                    </a:moveTo>
                    <a:lnTo>
                      <a:pt x="258680" y="374505"/>
                    </a:lnTo>
                    <a:lnTo>
                      <a:pt x="258680" y="341940"/>
                    </a:lnTo>
                    <a:lnTo>
                      <a:pt x="299280" y="341940"/>
                    </a:lnTo>
                    <a:lnTo>
                      <a:pt x="299280" y="307048"/>
                    </a:lnTo>
                    <a:lnTo>
                      <a:pt x="258680" y="307048"/>
                    </a:lnTo>
                    <a:lnTo>
                      <a:pt x="258680" y="289602"/>
                    </a:lnTo>
                    <a:lnTo>
                      <a:pt x="299280" y="289602"/>
                    </a:lnTo>
                    <a:lnTo>
                      <a:pt x="299280" y="254710"/>
                    </a:lnTo>
                    <a:lnTo>
                      <a:pt x="258680" y="254710"/>
                    </a:lnTo>
                    <a:lnTo>
                      <a:pt x="258680" y="237264"/>
                    </a:lnTo>
                    <a:lnTo>
                      <a:pt x="299280" y="237264"/>
                    </a:lnTo>
                    <a:lnTo>
                      <a:pt x="299280" y="202373"/>
                    </a:lnTo>
                    <a:lnTo>
                      <a:pt x="258680" y="202373"/>
                    </a:lnTo>
                    <a:lnTo>
                      <a:pt x="258680" y="184926"/>
                    </a:lnTo>
                    <a:lnTo>
                      <a:pt x="299280" y="184926"/>
                    </a:lnTo>
                    <a:lnTo>
                      <a:pt x="299280" y="150035"/>
                    </a:lnTo>
                    <a:lnTo>
                      <a:pt x="258680" y="150035"/>
                    </a:lnTo>
                    <a:lnTo>
                      <a:pt x="258680" y="132589"/>
                    </a:lnTo>
                    <a:lnTo>
                      <a:pt x="299280" y="132589"/>
                    </a:lnTo>
                    <a:lnTo>
                      <a:pt x="299280" y="97697"/>
                    </a:lnTo>
                    <a:lnTo>
                      <a:pt x="258680" y="97697"/>
                    </a:lnTo>
                    <a:lnTo>
                      <a:pt x="258680" y="62805"/>
                    </a:lnTo>
                    <a:lnTo>
                      <a:pt x="425720" y="62805"/>
                    </a:lnTo>
                    <a:lnTo>
                      <a:pt x="425720" y="374505"/>
                    </a:lnTo>
                    <a:close/>
                  </a:path>
                </a:pathLst>
              </a:custGeom>
              <a:solidFill>
                <a:srgbClr val="02723B"/>
              </a:solidFill>
              <a:ln w="7600" cap="flat">
                <a:noFill/>
                <a:bevel/>
              </a:ln>
            </p:spPr>
          </p:sp>
          <p:sp>
            <p:nvSpPr>
              <p:cNvPr id="180" name="Text 143"/>
              <p:cNvSpPr txBox="1"/>
              <p:nvPr/>
            </p:nvSpPr>
            <p:spPr>
              <a:xfrm>
                <a:off x="5382322" y="5346118"/>
                <a:ext cx="760000" cy="152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sz="760">
                    <a:solidFill>
                      <a:srgbClr val="AA6559"/>
                    </a:solidFill>
                    <a:latin typeface="Tahoma"/>
                  </a:rPr>
                  <a:t>Report.csv</a:t>
                </a:r>
              </a:p>
            </p:txBody>
          </p:sp>
        </p:grpSp>
        <p:sp>
          <p:nvSpPr>
            <p:cNvPr id="168" name="Center to center"/>
            <p:cNvSpPr/>
            <p:nvPr/>
          </p:nvSpPr>
          <p:spPr>
            <a:xfrm rot="-10629444">
              <a:off x="3679562" y="4971666"/>
              <a:ext cx="1865805" cy="92644"/>
            </a:xfrm>
            <a:custGeom>
              <a:avLst/>
              <a:gdLst/>
              <a:ahLst/>
              <a:cxnLst/>
              <a:rect l="0" t="0" r="0" b="0"/>
              <a:pathLst>
                <a:path w="1865805" h="92644" fill="none">
                  <a:moveTo>
                    <a:pt x="0" y="0"/>
                  </a:moveTo>
                  <a:cubicBezTo>
                    <a:pt x="329246" y="29331"/>
                    <a:pt x="1263297" y="29331"/>
                    <a:pt x="1868103" y="0"/>
                  </a:cubicBezTo>
                </a:path>
              </a:pathLst>
            </a:custGeom>
            <a:solidFill>
              <a:srgbClr val="FFFFFF"/>
            </a:solidFill>
            <a:ln w="7600" cap="flat">
              <a:solidFill>
                <a:srgbClr val="BC7163"/>
              </a:solidFill>
              <a:bevel/>
              <a:headEnd type="triangle" w="med" len="med"/>
            </a:ln>
          </p:spPr>
        </p:sp>
        <p:sp>
          <p:nvSpPr>
            <p:cNvPr id="169" name="State"/>
            <p:cNvSpPr/>
            <p:nvPr/>
          </p:nvSpPr>
          <p:spPr>
            <a:xfrm>
              <a:off x="2825623" y="5516953"/>
              <a:ext cx="908192" cy="908192"/>
            </a:xfrm>
            <a:custGeom>
              <a:avLst/>
              <a:gdLst>
                <a:gd name="connsiteX0" fmla="*/ 454098 w 908192"/>
                <a:gd name="connsiteY0" fmla="*/ 0 h 908192"/>
                <a:gd name="connsiteX1" fmla="*/ 454098 w 908192"/>
                <a:gd name="connsiteY1" fmla="*/ 908192 h 908192"/>
                <a:gd name="connsiteX2" fmla="*/ 0 w 908192"/>
                <a:gd name="connsiteY2" fmla="*/ 454098 h 908192"/>
                <a:gd name="connsiteX3" fmla="*/ 908192 w 908192"/>
                <a:gd name="connsiteY3" fmla="*/ 454098 h 908192"/>
                <a:gd name="connsiteX4" fmla="*/ 454098 w 908192"/>
                <a:gd name="connsiteY4" fmla="*/ 454098 h 908192"/>
                <a:gd name="connsiteX5" fmla="*/ 735638 w 908192"/>
                <a:gd name="connsiteY5" fmla="*/ 99901 h 908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8192" h="908192">
                  <a:moveTo>
                    <a:pt x="0" y="454098"/>
                  </a:moveTo>
                  <a:cubicBezTo>
                    <a:pt x="-24" y="203290"/>
                    <a:pt x="203289" y="-42"/>
                    <a:pt x="454096" y="-42"/>
                  </a:cubicBezTo>
                  <a:cubicBezTo>
                    <a:pt x="704904" y="-42"/>
                    <a:pt x="908216" y="203290"/>
                    <a:pt x="908192" y="454098"/>
                  </a:cubicBezTo>
                  <a:cubicBezTo>
                    <a:pt x="908168" y="704871"/>
                    <a:pt x="704870" y="908150"/>
                    <a:pt x="454096" y="908150"/>
                  </a:cubicBezTo>
                  <a:cubicBezTo>
                    <a:pt x="203323" y="908150"/>
                    <a:pt x="24" y="704871"/>
                    <a:pt x="0" y="454098"/>
                  </a:cubicBezTo>
                  <a:close/>
                </a:path>
              </a:pathLst>
            </a:custGeom>
            <a:solidFill>
              <a:srgbClr val="FF9B89"/>
            </a:solidFill>
            <a:ln w="15200" cap="flat">
              <a:solidFill>
                <a:srgbClr val="FF9B89"/>
              </a:solidFill>
              <a:bevel/>
            </a:ln>
          </p:spPr>
          <p:txBody>
            <a:bodyPr wrap="square" lIns="36000" tIns="0" rIns="36000" bIns="0" rtlCol="0" anchor="ctr"/>
            <a:lstStyle/>
            <a:p>
              <a:pPr algn="ctr">
                <a:lnSpc>
                  <a:spcPct val="100000"/>
                </a:lnSpc>
              </a:pPr>
              <a:r>
                <a:rPr sz="760">
                  <a:solidFill>
                    <a:srgbClr val="FFFFFF"/>
                  </a:solidFill>
                  <a:latin typeface="Tahoma"/>
                </a:rPr>
                <a:t>showClockReportData</a:t>
              </a:r>
            </a:p>
          </p:txBody>
        </p:sp>
        <p:sp>
          <p:nvSpPr>
            <p:cNvPr id="170" name="Center to center"/>
            <p:cNvSpPr/>
            <p:nvPr/>
          </p:nvSpPr>
          <p:spPr>
            <a:xfrm rot="-5192152">
              <a:off x="3082128" y="5290375"/>
              <a:ext cx="466621" cy="953177"/>
            </a:xfrm>
            <a:custGeom>
              <a:avLst/>
              <a:gdLst/>
              <a:ahLst/>
              <a:cxnLst/>
              <a:rect l="0" t="0" r="0" b="0"/>
              <a:pathLst>
                <a:path w="466621" h="953177" fill="none">
                  <a:moveTo>
                    <a:pt x="0" y="0"/>
                  </a:moveTo>
                  <a:cubicBezTo>
                    <a:pt x="156849" y="-579001"/>
                    <a:pt x="634310" y="-579001"/>
                    <a:pt x="954922" y="0"/>
                  </a:cubicBezTo>
                </a:path>
              </a:pathLst>
            </a:custGeom>
            <a:solidFill>
              <a:srgbClr val="FFFFFF"/>
            </a:solidFill>
            <a:ln w="7600" cap="flat">
              <a:solidFill>
                <a:srgbClr val="BC7163"/>
              </a:solidFill>
              <a:bevel/>
              <a:headEnd type="triangle" w="med" len="med"/>
            </a:ln>
          </p:spPr>
        </p:sp>
        <p:sp>
          <p:nvSpPr>
            <p:cNvPr id="171" name="External entity"/>
            <p:cNvSpPr/>
            <p:nvPr/>
          </p:nvSpPr>
          <p:spPr>
            <a:xfrm>
              <a:off x="1422722" y="5791522"/>
              <a:ext cx="820800" cy="359055"/>
            </a:xfrm>
            <a:custGeom>
              <a:avLst/>
              <a:gdLst>
                <a:gd name="connsiteX0" fmla="*/ 410400 w 820800"/>
                <a:gd name="connsiteY0" fmla="*/ 359055 h 359055"/>
                <a:gd name="connsiteX1" fmla="*/ 410400 w 820800"/>
                <a:gd name="connsiteY1" fmla="*/ 0 h 359055"/>
                <a:gd name="connsiteX2" fmla="*/ 820800 w 820800"/>
                <a:gd name="connsiteY2" fmla="*/ 179528 h 359055"/>
                <a:gd name="connsiteX3" fmla="*/ 0 w 820800"/>
                <a:gd name="connsiteY3" fmla="*/ 179528 h 359055"/>
                <a:gd name="connsiteX4" fmla="*/ 410400 w 820800"/>
                <a:gd name="connsiteY4" fmla="*/ 179528 h 359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0800" h="359055">
                  <a:moveTo>
                    <a:pt x="820800" y="359055"/>
                  </a:moveTo>
                  <a:lnTo>
                    <a:pt x="820800" y="0"/>
                  </a:lnTo>
                  <a:lnTo>
                    <a:pt x="0" y="0"/>
                  </a:lnTo>
                  <a:lnTo>
                    <a:pt x="0" y="359055"/>
                  </a:lnTo>
                  <a:lnTo>
                    <a:pt x="820800" y="359055"/>
                  </a:lnTo>
                  <a:close/>
                </a:path>
              </a:pathLst>
            </a:custGeom>
            <a:solidFill>
              <a:srgbClr val="92D050"/>
            </a:solidFill>
            <a:ln w="15200" cap="flat">
              <a:solidFill>
                <a:srgbClr val="92D050"/>
              </a:solidFill>
              <a:bevel/>
            </a:ln>
          </p:spPr>
          <p:txBody>
            <a:bodyPr wrap="square" lIns="36000" tIns="0" rIns="36000" bIns="0" rtlCol="0" anchor="ctr"/>
            <a:lstStyle/>
            <a:p>
              <a:pPr algn="ctr">
                <a:lnSpc>
                  <a:spcPct val="100000"/>
                </a:lnSpc>
              </a:pPr>
              <a:r>
                <a:rPr sz="760" dirty="0">
                  <a:solidFill>
                    <a:srgbClr val="FFFFFF"/>
                  </a:solidFill>
                  <a:latin typeface="Tahoma"/>
                </a:rPr>
                <a:t>JSON </a:t>
              </a:r>
              <a:r>
                <a:rPr sz="760" dirty="0" err="1">
                  <a:solidFill>
                    <a:srgbClr val="FFFFFF"/>
                  </a:solidFill>
                  <a:latin typeface="Tahoma"/>
                </a:rPr>
                <a:t>kq_clock_report</a:t>
              </a:r>
              <a:endParaRPr sz="760" dirty="0">
                <a:solidFill>
                  <a:srgbClr val="FFFFFF"/>
                </a:solidFill>
                <a:latin typeface="Tahoma"/>
              </a:endParaRPr>
            </a:p>
          </p:txBody>
        </p:sp>
        <p:sp>
          <p:nvSpPr>
            <p:cNvPr id="172" name="Center to center"/>
            <p:cNvSpPr/>
            <p:nvPr/>
          </p:nvSpPr>
          <p:spPr>
            <a:xfrm rot="644821">
              <a:off x="1790636" y="6282650"/>
              <a:ext cx="1446599" cy="319608"/>
            </a:xfrm>
            <a:custGeom>
              <a:avLst/>
              <a:gdLst/>
              <a:ahLst/>
              <a:cxnLst/>
              <a:rect l="0" t="0" r="0" b="0"/>
              <a:pathLst>
                <a:path w="1446599" h="319608" fill="none">
                  <a:moveTo>
                    <a:pt x="0" y="0"/>
                  </a:moveTo>
                  <a:cubicBezTo>
                    <a:pt x="223181" y="221567"/>
                    <a:pt x="959394" y="221567"/>
                    <a:pt x="1472425" y="0"/>
                  </a:cubicBezTo>
                </a:path>
              </a:pathLst>
            </a:custGeom>
            <a:solidFill>
              <a:srgbClr val="FFFFFF"/>
            </a:solidFill>
            <a:ln w="7600" cap="flat">
              <a:solidFill>
                <a:srgbClr val="BC7163"/>
              </a:solidFill>
              <a:bevel/>
              <a:headEnd type="triangle" w="med" len="med"/>
            </a:ln>
          </p:spPr>
        </p:sp>
        <p:sp>
          <p:nvSpPr>
            <p:cNvPr id="173" name="Text 144"/>
            <p:cNvSpPr txBox="1"/>
            <p:nvPr/>
          </p:nvSpPr>
          <p:spPr>
            <a:xfrm>
              <a:off x="2699522" y="1667714"/>
              <a:ext cx="1041200" cy="272437"/>
            </a:xfrm>
            <a:prstGeom prst="rect">
              <a:avLst/>
            </a:prstGeom>
            <a:noFill/>
          </p:spPr>
          <p:txBody>
            <a:bodyPr wrap="square" lIns="0" tIns="0" rIns="0" bIns="0" rtlCol="0" anchor="t"/>
            <a:lstStyle/>
            <a:p>
              <a:pPr algn="l">
                <a:lnSpc>
                  <a:spcPct val="100000"/>
                </a:lnSpc>
              </a:pPr>
              <a:r>
                <a:rPr sz="1292" dirty="0" err="1">
                  <a:solidFill>
                    <a:srgbClr val="868686"/>
                  </a:solidFill>
                  <a:latin typeface="Tahoma"/>
                </a:rPr>
                <a:t>sqlitehelper</a:t>
              </a:r>
              <a:endParaRPr sz="1292" dirty="0">
                <a:solidFill>
                  <a:srgbClr val="868686"/>
                </a:solidFill>
                <a:latin typeface="Tahom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5965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port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661" y="954226"/>
            <a:ext cx="11497030" cy="3671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111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de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972175" y="558860"/>
            <a:ext cx="5972175" cy="304698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cons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promiseInquir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(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beginDat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endDat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employeeIdOrNam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nextPag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=&gt;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new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4EC9B0"/>
                </a:solidFill>
                <a:latin typeface="Consolas" panose="020B0609020204030204" pitchFamily="49" charset="0"/>
              </a:rPr>
              <a:t>Promis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(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solv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jec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=&gt;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inquir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beginDat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endDat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employeeIdOrNam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nextPag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=&gt;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 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jec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}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solv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}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}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}</a:t>
            </a:r>
            <a:endParaRPr lang="en-US" altLang="zh-CN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649349"/>
            <a:ext cx="5972175" cy="526297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dirty="0" smtClean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askAll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sqlhelper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getInqEmployeeLis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)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the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async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le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mployees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JSON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pars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fo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le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B5CEA8"/>
                </a:solidFill>
                <a:latin typeface="Consolas" panose="020B0609020204030204" pitchFamily="49" charset="0"/>
              </a:rPr>
              <a:t>0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;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&lt;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employees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length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;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++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 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awai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promiseInquir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${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mployees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[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].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inq_start_t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}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${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mployees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[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].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inq_end_t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}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${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mployees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[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i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].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employeeIdOrName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}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als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}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})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the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sqlhelper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getCon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_CLOCK_TIM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  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the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sqlhelper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openDb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  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the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sqlhelper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createSchem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  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the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sqlhelper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calculateClock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  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the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sqlhelper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getClockReport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  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the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sqlhelpe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export2CSV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  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the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sqlhelper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showClockReport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}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}</a:t>
            </a:r>
            <a:endParaRPr lang="en-US" altLang="zh-CN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5" name="ConnectLine"/>
          <p:cNvSpPr/>
          <p:nvPr/>
        </p:nvSpPr>
        <p:spPr>
          <a:xfrm rot="5400000" flipV="1">
            <a:off x="3118304" y="3085384"/>
            <a:ext cx="5783977" cy="45719"/>
          </a:xfrm>
          <a:custGeom>
            <a:avLst/>
            <a:gdLst/>
            <a:ahLst/>
            <a:cxnLst/>
            <a:rect l="0" t="0" r="0" b="0"/>
            <a:pathLst>
              <a:path w="10480400" h="7600" fill="none">
                <a:moveTo>
                  <a:pt x="0" y="0"/>
                </a:moveTo>
                <a:lnTo>
                  <a:pt x="10480400" y="0"/>
                </a:lnTo>
              </a:path>
            </a:pathLst>
          </a:custGeom>
          <a:noFill/>
          <a:ln w="20267" cap="flat">
            <a:solidFill>
              <a:srgbClr val="C00000"/>
            </a:solidFill>
            <a:bevel/>
          </a:ln>
        </p:spPr>
      </p:sp>
    </p:spTree>
    <p:extLst>
      <p:ext uri="{BB962C8B-B14F-4D97-AF65-F5344CB8AC3E}">
        <p14:creationId xmlns:p14="http://schemas.microsoft.com/office/powerpoint/2010/main" val="476234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de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487740"/>
            <a:ext cx="11816179" cy="6494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va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createSchem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new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4EC9B0"/>
                </a:solidFill>
                <a:latin typeface="Consolas" panose="020B0609020204030204" pitchFamily="49" charset="0"/>
              </a:rPr>
              <a:t>Promis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solv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jec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db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serializ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) </a:t>
            </a:r>
            <a:r>
              <a:rPr lang="en-US" altLang="zh-CN" dirty="0" smtClean="0">
                <a:solidFill>
                  <a:srgbClr val="D4D4D4"/>
                </a:solidFill>
                <a:latin typeface="Consolas" panose="020B0609020204030204" pitchFamily="49" charset="0"/>
              </a:rPr>
              <a:t>{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/>
            </a:r>
            <a:b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</a:b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 </a:t>
            </a:r>
            <a:r>
              <a:rPr lang="en-US" altLang="zh-CN" dirty="0" smtClean="0">
                <a:solidFill>
                  <a:srgbClr val="D4D4D4"/>
                </a:solidFill>
                <a:latin typeface="Consolas" panose="020B0609020204030204" pitchFamily="49" charset="0"/>
              </a:rPr>
              <a:t>   …………………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/>
            </a:r>
            <a:b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</a:b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db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exec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createReportTabl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jec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}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els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consol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log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"create table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kq_clock_repor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"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_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CLOCK_TIME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forEach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clock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db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ru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"insert into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kq_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batchid,department,employee_id,employee_name,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 VALUES ($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, $department, $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employee_id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, $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employee_na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, $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"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$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: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4FC1FF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$department: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clock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departmen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$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employee_id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: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clock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employee_id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$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employee_name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: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clock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nam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$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clock_time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: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clock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clock_time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},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if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 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jec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9CDCFE"/>
                </a:solidFill>
                <a:latin typeface="Consolas" panose="020B0609020204030204" pitchFamily="49" charset="0"/>
              </a:rPr>
              <a:t>er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}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els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  </a:t>
            </a:r>
            <a:r>
              <a:rPr lang="en-US" altLang="zh-CN" dirty="0">
                <a:solidFill>
                  <a:srgbClr val="6A9955"/>
                </a:solidFill>
                <a:latin typeface="Consolas" panose="020B0609020204030204" pitchFamily="49" charset="0"/>
              </a:rPr>
              <a:t>//console.log("</a:t>
            </a:r>
            <a:r>
              <a:rPr lang="zh-CN" altLang="en-US" dirty="0">
                <a:solidFill>
                  <a:srgbClr val="6A9955"/>
                </a:solidFill>
                <a:latin typeface="Consolas" panose="020B0609020204030204" pitchFamily="49" charset="0"/>
              </a:rPr>
              <a:t>成功插入</a:t>
            </a:r>
            <a:r>
              <a:rPr lang="en-US" altLang="zh-CN" dirty="0">
                <a:solidFill>
                  <a:srgbClr val="6A9955"/>
                </a:solidFill>
                <a:latin typeface="Consolas" panose="020B0609020204030204" pitchFamily="49" charset="0"/>
              </a:rPr>
              <a:t>1</a:t>
            </a:r>
            <a:r>
              <a:rPr lang="zh-CN" altLang="en-US" dirty="0">
                <a:solidFill>
                  <a:srgbClr val="6A9955"/>
                </a:solidFill>
                <a:latin typeface="Consolas" panose="020B0609020204030204" pitchFamily="49" charset="0"/>
              </a:rPr>
              <a:t>笔记录</a:t>
            </a:r>
            <a:r>
              <a:rPr lang="en-US" altLang="zh-CN" dirty="0">
                <a:solidFill>
                  <a:srgbClr val="6A9955"/>
                </a:solidFill>
                <a:latin typeface="Consolas" panose="020B0609020204030204" pitchFamily="49" charset="0"/>
              </a:rPr>
              <a:t>");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  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}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  })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    });</a:t>
            </a:r>
            <a:endParaRPr lang="en-US" altLang="zh-CN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3681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de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33448" y="642185"/>
            <a:ext cx="11500486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va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calculateClock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</a:t>
            </a:r>
            <a:r>
              <a:rPr lang="en-US" altLang="zh-CN" dirty="0">
                <a:solidFill>
                  <a:srgbClr val="C586C0"/>
                </a:solidFill>
                <a:latin typeface="Consolas" panose="020B0609020204030204" pitchFamily="49" charset="0"/>
              </a:rPr>
              <a:t>retur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new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>
                <a:solidFill>
                  <a:srgbClr val="4EC9B0"/>
                </a:solidFill>
                <a:latin typeface="Consolas" panose="020B0609020204030204" pitchFamily="49" charset="0"/>
              </a:rPr>
              <a:t>Promis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solv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, </a:t>
            </a:r>
            <a:r>
              <a:rPr lang="en-US" altLang="zh-CN" dirty="0">
                <a:solidFill>
                  <a:srgbClr val="DCDCAA"/>
                </a:solidFill>
                <a:latin typeface="Consolas" panose="020B0609020204030204" pitchFamily="49" charset="0"/>
              </a:rPr>
              <a:t>reject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db</a:t>
            </a:r>
            <a:r>
              <a:rPr lang="en-US" altLang="zh-CN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altLang="zh-CN" dirty="0" err="1">
                <a:solidFill>
                  <a:srgbClr val="DCDCAA"/>
                </a:solidFill>
                <a:latin typeface="Consolas" panose="020B0609020204030204" pitchFamily="49" charset="0"/>
              </a:rPr>
              <a:t>serialize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() {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>
                <a:solidFill>
                  <a:srgbClr val="6A9955"/>
                </a:solidFill>
                <a:latin typeface="Consolas" panose="020B0609020204030204" pitchFamily="49" charset="0"/>
              </a:rPr>
              <a:t>//</a:t>
            </a:r>
            <a:r>
              <a:rPr lang="zh-CN" altLang="en-US" dirty="0">
                <a:solidFill>
                  <a:srgbClr val="6A9955"/>
                </a:solidFill>
                <a:latin typeface="Consolas" panose="020B0609020204030204" pitchFamily="49" charset="0"/>
              </a:rPr>
              <a:t>删掉相同批号的数据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va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delete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DELETE FROM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kq_clock_repor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WHERE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='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${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}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`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>
                <a:solidFill>
                  <a:srgbClr val="6A9955"/>
                </a:solidFill>
                <a:latin typeface="Consolas" panose="020B0609020204030204" pitchFamily="49" charset="0"/>
              </a:rPr>
              <a:t>//</a:t>
            </a:r>
            <a:r>
              <a:rPr lang="en-US" altLang="zh-CN" dirty="0" err="1">
                <a:solidFill>
                  <a:srgbClr val="6A9955"/>
                </a:solidFill>
                <a:latin typeface="Consolas" panose="020B0609020204030204" pitchFamily="49" charset="0"/>
              </a:rPr>
              <a:t>lock_date</a:t>
            </a:r>
            <a:r>
              <a:rPr lang="zh-CN" altLang="en-US" dirty="0">
                <a:solidFill>
                  <a:srgbClr val="6A9955"/>
                </a:solidFill>
                <a:latin typeface="Consolas" panose="020B0609020204030204" pitchFamily="49" charset="0"/>
              </a:rPr>
              <a:t>分组，</a:t>
            </a:r>
            <a:r>
              <a:rPr lang="en-US" altLang="zh-CN" dirty="0" err="1">
                <a:solidFill>
                  <a:srgbClr val="6A9955"/>
                </a:solidFill>
                <a:latin typeface="Consolas" panose="020B0609020204030204" pitchFamily="49" charset="0"/>
              </a:rPr>
              <a:t>clock_time</a:t>
            </a:r>
            <a:r>
              <a:rPr lang="zh-CN" altLang="en-US" dirty="0">
                <a:solidFill>
                  <a:srgbClr val="6A9955"/>
                </a:solidFill>
                <a:latin typeface="Consolas" panose="020B0609020204030204" pitchFamily="49" charset="0"/>
              </a:rPr>
              <a:t>排序，每组取第一个作为</a:t>
            </a:r>
            <a:r>
              <a:rPr lang="en-US" altLang="zh-CN" dirty="0" err="1">
                <a:solidFill>
                  <a:srgbClr val="6A9955"/>
                </a:solidFill>
                <a:latin typeface="Consolas" panose="020B0609020204030204" pitchFamily="49" charset="0"/>
              </a:rPr>
              <a:t>clock_time_start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va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insertStart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INSERT INTO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kq_clock_repor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(batchid,department,employee_id,employee_name,clock_date,clock_in_t,stipulate_in_t,stipulate_out_t,Create_t)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SELECT batchid,department,employee_id,employee_name,clock_date,clock_time,strftime('%Y-%m-%d 08:50:59',clock_date,'localtime'),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rf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('%Y-%m-%d 16:50:59',clock_date,'localtime'),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date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('now', '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local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) FROM(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SELECT SUBSTR(clock_time,0,INSTR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,' ')) AS clock_date,batchid,department,employee_id,employee_name,clock_time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,ROW_NUMBER() OVER(PARTITION BY SUBSTR(clock_time,0,INSTR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,' ')),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batchid,department,employee_id,employee_na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ORDER BY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 AS RN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FROM [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kq_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]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WHERE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='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${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}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) T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WHERE RN=1      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 smtClean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r>
              <a:rPr lang="en-US" altLang="zh-CN" dirty="0" smtClean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</a:p>
          <a:p>
            <a:r>
              <a:rPr lang="en-US" altLang="zh-CN" dirty="0" smtClean="0">
                <a:solidFill>
                  <a:srgbClr val="D4D4D4"/>
                </a:solidFill>
                <a:latin typeface="Consolas" panose="020B0609020204030204" pitchFamily="49" charset="0"/>
              </a:rPr>
              <a:t>………</a:t>
            </a:r>
            <a:endParaRPr lang="en-US" altLang="zh-CN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9845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de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0502" y="487740"/>
            <a:ext cx="11908611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>
                <a:solidFill>
                  <a:srgbClr val="6A9955"/>
                </a:solidFill>
                <a:latin typeface="Consolas" panose="020B0609020204030204" pitchFamily="49" charset="0"/>
              </a:rPr>
              <a:t>//</a:t>
            </a:r>
            <a:r>
              <a:rPr lang="en-US" altLang="zh-CN" dirty="0" err="1">
                <a:solidFill>
                  <a:srgbClr val="6A9955"/>
                </a:solidFill>
                <a:latin typeface="Consolas" panose="020B0609020204030204" pitchFamily="49" charset="0"/>
              </a:rPr>
              <a:t>clock_date</a:t>
            </a:r>
            <a:r>
              <a:rPr lang="zh-CN" altLang="en-US" dirty="0">
                <a:solidFill>
                  <a:srgbClr val="6A9955"/>
                </a:solidFill>
                <a:latin typeface="Consolas" panose="020B0609020204030204" pitchFamily="49" charset="0"/>
              </a:rPr>
              <a:t>分组，</a:t>
            </a:r>
            <a:r>
              <a:rPr lang="en-US" altLang="zh-CN" dirty="0" err="1">
                <a:solidFill>
                  <a:srgbClr val="6A9955"/>
                </a:solidFill>
                <a:latin typeface="Consolas" panose="020B0609020204030204" pitchFamily="49" charset="0"/>
              </a:rPr>
              <a:t>clock_time</a:t>
            </a:r>
            <a:r>
              <a:rPr lang="zh-CN" altLang="en-US" dirty="0">
                <a:solidFill>
                  <a:srgbClr val="6A9955"/>
                </a:solidFill>
                <a:latin typeface="Consolas" panose="020B0609020204030204" pitchFamily="49" charset="0"/>
              </a:rPr>
              <a:t>排序，每组取最后一个作为</a:t>
            </a:r>
            <a:r>
              <a:rPr lang="en-US" altLang="zh-CN" dirty="0" err="1">
                <a:solidFill>
                  <a:srgbClr val="6A9955"/>
                </a:solidFill>
                <a:latin typeface="Consolas" panose="020B0609020204030204" pitchFamily="49" charset="0"/>
              </a:rPr>
              <a:t>clock_time_end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va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updateEndData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UPDATE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kq_clock_repor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SET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= (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SELECT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FROM(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SELECT batchid,department,employee_id,employee_name,clock_date,clock_time,RN,RN_MAX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FROM(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SELECT 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batchid,department,employee_id,employee_name,clock_date,clock_time,RN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,ROW_NUMBER() OVER(PARTITION BY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date,batchid,department,employee_id,employee_na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ORDER BY RN DESC) AS RN_MAX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FROM(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SELECT SUBSTR(clock_time,0,INSTR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,' ')) AS clock_date,batchid,department,employee_id,employee_name,clock_time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,ROW_NUMBER() OVER(PARTITION BY SUBSTR(clock_time,0,INSTR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,' ')),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batchid,department,employee_id,employee_na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ORDER BY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 AS RN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FROM [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kq_clock_time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]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WHERE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='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${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}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) T1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) T2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WHERE T2.RN_MAX=1   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)T3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WHERE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='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${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}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         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 smtClean="0">
                <a:solidFill>
                  <a:srgbClr val="CE9178"/>
                </a:solidFill>
                <a:latin typeface="Consolas" panose="020B0609020204030204" pitchFamily="49" charset="0"/>
              </a:rPr>
              <a:t>………………………………………………</a:t>
            </a:r>
            <a:endParaRPr lang="en-US" altLang="zh-CN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3994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de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24057" y="886157"/>
            <a:ext cx="1182505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>
                <a:solidFill>
                  <a:srgbClr val="6A9955"/>
                </a:solidFill>
                <a:latin typeface="Consolas" panose="020B0609020204030204" pitchFamily="49" charset="0"/>
              </a:rPr>
              <a:t>//</a:t>
            </a:r>
            <a:r>
              <a:rPr lang="zh-CN" altLang="en-US" dirty="0">
                <a:solidFill>
                  <a:srgbClr val="6A9955"/>
                </a:solidFill>
                <a:latin typeface="Consolas" panose="020B0609020204030204" pitchFamily="49" charset="0"/>
              </a:rPr>
              <a:t>更新</a:t>
            </a:r>
            <a:r>
              <a:rPr lang="en-US" altLang="zh-CN" dirty="0" err="1">
                <a:solidFill>
                  <a:srgbClr val="6A9955"/>
                </a:solidFill>
                <a:latin typeface="Consolas" panose="020B0609020204030204" pitchFamily="49" charset="0"/>
              </a:rPr>
              <a:t>work_hour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va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updateWorkHou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UPDATE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kq_clock_report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SET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work_hour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=CASE WHEN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IS NOT NULL AND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IS NOT NULL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  THEN 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julianday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 -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julianday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)*24 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ELSE 0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END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WHERE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='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${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}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 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`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;</a:t>
            </a:r>
            <a:endParaRPr lang="en-US" altLang="zh-CN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6594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de</a:t>
            </a:r>
            <a:endParaRPr lang="zh-CN" altLang="en-US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487740"/>
            <a:ext cx="12126897" cy="6494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>
                <a:solidFill>
                  <a:srgbClr val="6A9955"/>
                </a:solidFill>
                <a:latin typeface="Consolas" panose="020B0609020204030204" pitchFamily="49" charset="0"/>
              </a:rPr>
              <a:t>//</a:t>
            </a:r>
            <a:r>
              <a:rPr lang="zh-CN" altLang="en-US" dirty="0">
                <a:solidFill>
                  <a:srgbClr val="6A9955"/>
                </a:solidFill>
                <a:latin typeface="Consolas" panose="020B0609020204030204" pitchFamily="49" charset="0"/>
              </a:rPr>
              <a:t>更新</a:t>
            </a:r>
            <a:r>
              <a:rPr lang="en-US" altLang="zh-CN" dirty="0">
                <a:solidFill>
                  <a:srgbClr val="6A9955"/>
                </a:solidFill>
                <a:latin typeface="Consolas" panose="020B0609020204030204" pitchFamily="49" charset="0"/>
              </a:rPr>
              <a:t>Status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     </a:t>
            </a:r>
            <a:r>
              <a:rPr lang="en-US" altLang="zh-CN" dirty="0" err="1">
                <a:solidFill>
                  <a:srgbClr val="569CD6"/>
                </a:solidFill>
                <a:latin typeface="Consolas" panose="020B0609020204030204" pitchFamily="49" charset="0"/>
              </a:rPr>
              <a:t>var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updateStatus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`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UPDATE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kq_clock_report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SET status=CASE WHEN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IS NULL AND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IS NULL THEN '</a:t>
            </a:r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請假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WHEN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IS NULL OR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IS NULL OR 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=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 THEN '</a:t>
            </a:r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只刷一次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WHEN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IS NOT NULL AND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IS NOT NULL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THEN (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  CASE 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    WHEN 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 AND 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AND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AND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 AND 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work_hour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 9) THEN '</a:t>
            </a:r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遲到 早退 工時不足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 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   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WHEN 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 AND 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AND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AND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 THEN '</a:t>
            </a:r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遲到 早退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   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WHEN 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 AND 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work_hour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 9) THEN '</a:t>
            </a:r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遲到 工時不足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   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WHEN 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AND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AND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) AND (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work_hour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 9) THEN '</a:t>
            </a:r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早退 工時不足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   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WHEN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THEN '</a:t>
            </a:r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遲到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 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     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WHEN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AND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stipulate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AND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in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&gt;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clock_out_t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THEN '</a:t>
            </a:r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早退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     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WHEN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work_hour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&lt; 9 THEN '</a:t>
            </a:r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工時不足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     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ELSE '</a:t>
            </a:r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正常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 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END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  )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  ELSE '</a:t>
            </a:r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正常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endParaRPr lang="zh-CN" altLang="en-US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zh-CN" altLang="en-US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      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END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  WHERE </a:t>
            </a:r>
            <a:r>
              <a:rPr lang="en-US" altLang="zh-CN" dirty="0" err="1">
                <a:solidFill>
                  <a:srgbClr val="CE9178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='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${</a:t>
            </a:r>
            <a:r>
              <a:rPr lang="en-US" altLang="zh-CN" dirty="0" err="1">
                <a:solidFill>
                  <a:srgbClr val="9CDCFE"/>
                </a:solidFill>
                <a:latin typeface="Consolas" panose="020B0609020204030204" pitchFamily="49" charset="0"/>
              </a:rPr>
              <a:t>batchid</a:t>
            </a:r>
            <a:r>
              <a:rPr lang="en-US" altLang="zh-CN" dirty="0">
                <a:solidFill>
                  <a:srgbClr val="569CD6"/>
                </a:solidFill>
                <a:latin typeface="Consolas" panose="020B0609020204030204" pitchFamily="49" charset="0"/>
              </a:rPr>
              <a:t>}</a:t>
            </a:r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'      </a:t>
            </a:r>
            <a:endParaRPr lang="en-US" altLang="zh-CN" dirty="0">
              <a:solidFill>
                <a:srgbClr val="D4D4D4"/>
              </a:solidFill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CE9178"/>
                </a:solidFill>
                <a:latin typeface="Consolas" panose="020B0609020204030204" pitchFamily="49" charset="0"/>
              </a:rPr>
              <a:t>      `</a:t>
            </a:r>
            <a:r>
              <a:rPr lang="en-US" altLang="zh-CN" dirty="0">
                <a:solidFill>
                  <a:srgbClr val="D4D4D4"/>
                </a:solidFill>
                <a:latin typeface="Consolas" panose="020B0609020204030204" pitchFamily="49" charset="0"/>
              </a:rPr>
              <a:t>;  </a:t>
            </a:r>
            <a:endParaRPr lang="en-US" altLang="zh-CN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8375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VIOUSNAME" val="C:\Users\Denise Lee\Desktop\190315_DnA transformation proposal vDL.pptx"/>
  <p:tag name="BLUEONEFOURTHTITLEFONTCOLORFIXED" val="true"/>
  <p:tag name="DARKLAYOUTNAMESCHANGEDTOCONTRAST" val="true"/>
  <p:tag name="MTBTACCENT" val="Accent4ColorBoldText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#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6&quot;&gt;&lt;elem m_fUsage=&quot;1.64486303909999986850E+00&quot;&gt;&lt;m_msothmcolidx val=&quot;0&quot;/&gt;&lt;m_rgb r=&quot;00&quot; g=&quot;70&quot; b=&quot;C0&quot;/&gt;&lt;m_nBrightness endver=&quot;26206&quot; val=&quot;0&quot;/&gt;&lt;/elem&gt;&lt;elem m_fUsage=&quot;1.55610000000000003872E+00&quot;&gt;&lt;m_msothmcolidx val=&quot;0&quot;/&gt;&lt;m_rgb r=&quot;D9&quot; g=&quot;EE&quot; b=&quot;BF&quot;/&gt;&lt;m_nBrightness endver=&quot;26206&quot; val=&quot;0&quot;/&gt;&lt;/elem&gt;&lt;elem m_fUsage=&quot;1.12193100000000001160E+00&quot;&gt;&lt;m_msothmcolidx val=&quot;0&quot;/&gt;&lt;m_rgb r=&quot;BD&quot; g=&quot;A2&quot; b=&quot;DF&quot;/&gt;&lt;m_nBrightness endver=&quot;26206&quot; val=&quot;0&quot;/&gt;&lt;/elem&gt;&lt;elem m_fUsage=&quot;1.00000000000000000000E+00&quot;&gt;&lt;m_msothmcolidx val=&quot;0&quot;/&gt;&lt;m_rgb r=&quot;47&quot; g=&quot;B1&quot; b=&quot;78&quot;/&gt;&lt;m_nBrightness endver=&quot;26206&quot; val=&quot;0&quot;/&gt;&lt;/elem&gt;&lt;elem m_fUsage=&quot;8.10000000000000053291E-01&quot;&gt;&lt;m_msothmcolidx val=&quot;0&quot;/&gt;&lt;m_rgb r=&quot;F2&quot; g=&quot;7F&quot; b=&quot;00&quot;/&gt;&lt;m_nBrightness endver=&quot;26206&quot; val=&quot;0&quot;/&gt;&lt;/elem&gt;&lt;elem m_fUsage=&quot;7.29000000000000092371E-01&quot;&gt;&lt;m_msothmcolidx val=&quot;0&quot;/&gt;&lt;m_rgb r=&quot;36&quot; g=&quot;89&quot; b=&quot;5B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NEWVI" val="fals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lMnoTws6R2ApqOEM3mc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55zvJXSeS.tYU9KoXX5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DsyzzrHRUHbqOLBREg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udpBnLRQ6YZ9G0u6G.E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udpBnLRQ6YZ9G0u6G.E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lMnoTws6R2ApqOEM3mc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55zvJXSeS.tYU9KoXX5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DsyzzrHRUHbqOLBREg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KXWUZoER2CNQw9FiR2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Wistron_CF_WIV015">
  <a:themeElements>
    <a:clrScheme name="Current">
      <a:dk1>
        <a:srgbClr val="080808"/>
      </a:dk1>
      <a:lt1>
        <a:srgbClr val="FFFFFF"/>
      </a:lt1>
      <a:dk2>
        <a:srgbClr val="080808"/>
      </a:dk2>
      <a:lt2>
        <a:srgbClr val="FF8700"/>
      </a:lt2>
      <a:accent1>
        <a:srgbClr val="619DA6"/>
      </a:accent1>
      <a:accent2>
        <a:srgbClr val="91CE44"/>
      </a:accent2>
      <a:accent3>
        <a:srgbClr val="8B78B8"/>
      </a:accent3>
      <a:accent4>
        <a:srgbClr val="00506E"/>
      </a:accent4>
      <a:accent5>
        <a:srgbClr val="CB8945"/>
      </a:accent5>
      <a:accent6>
        <a:srgbClr val="808080"/>
      </a:accent6>
      <a:hlink>
        <a:srgbClr val="8B78B8"/>
      </a:hlink>
      <a:folHlink>
        <a:srgbClr val="00506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80808"/>
        </a:dk1>
        <a:lt1>
          <a:srgbClr val="FFFFFF"/>
        </a:lt1>
        <a:dk2>
          <a:srgbClr val="080808"/>
        </a:dk2>
        <a:lt2>
          <a:srgbClr val="FF8700"/>
        </a:lt2>
        <a:accent1>
          <a:srgbClr val="619DA6"/>
        </a:accent1>
        <a:accent2>
          <a:srgbClr val="91CE44"/>
        </a:accent2>
        <a:accent3>
          <a:srgbClr val="8B78B8"/>
        </a:accent3>
        <a:accent4>
          <a:srgbClr val="00506E"/>
        </a:accent4>
        <a:accent5>
          <a:srgbClr val="CB8945"/>
        </a:accent5>
        <a:accent6>
          <a:srgbClr val="808080"/>
        </a:accent6>
        <a:hlink>
          <a:srgbClr val="8B78B8"/>
        </a:hlink>
        <a:folHlink>
          <a:srgbClr val="00506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itle.pptx" id="{496324DB-6466-4DB7-86D5-0C6D4C9727B3}" vid="{1D268D07-532A-468D-BD44-4FB7844A7428}"/>
    </a:ext>
  </a:extLst>
</a:theme>
</file>

<file path=ppt/theme/theme2.xml><?xml version="1.0" encoding="utf-8"?>
<a:theme xmlns:a="http://schemas.openxmlformats.org/drawingml/2006/main" name="1_Wistron_CF_WIV015">
  <a:themeElements>
    <a:clrScheme name="Current">
      <a:dk1>
        <a:srgbClr val="080808"/>
      </a:dk1>
      <a:lt1>
        <a:srgbClr val="FFFFFF"/>
      </a:lt1>
      <a:dk2>
        <a:srgbClr val="080808"/>
      </a:dk2>
      <a:lt2>
        <a:srgbClr val="FF8700"/>
      </a:lt2>
      <a:accent1>
        <a:srgbClr val="619DA6"/>
      </a:accent1>
      <a:accent2>
        <a:srgbClr val="91CE44"/>
      </a:accent2>
      <a:accent3>
        <a:srgbClr val="8B78B8"/>
      </a:accent3>
      <a:accent4>
        <a:srgbClr val="00506E"/>
      </a:accent4>
      <a:accent5>
        <a:srgbClr val="CB8945"/>
      </a:accent5>
      <a:accent6>
        <a:srgbClr val="808080"/>
      </a:accent6>
      <a:hlink>
        <a:srgbClr val="8B78B8"/>
      </a:hlink>
      <a:folHlink>
        <a:srgbClr val="00506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80808"/>
        </a:dk1>
        <a:lt1>
          <a:srgbClr val="FFFFFF"/>
        </a:lt1>
        <a:dk2>
          <a:srgbClr val="080808"/>
        </a:dk2>
        <a:lt2>
          <a:srgbClr val="FF8700"/>
        </a:lt2>
        <a:accent1>
          <a:srgbClr val="619DA6"/>
        </a:accent1>
        <a:accent2>
          <a:srgbClr val="91CE44"/>
        </a:accent2>
        <a:accent3>
          <a:srgbClr val="8B78B8"/>
        </a:accent3>
        <a:accent4>
          <a:srgbClr val="00506E"/>
        </a:accent4>
        <a:accent5>
          <a:srgbClr val="CB8945"/>
        </a:accent5>
        <a:accent6>
          <a:srgbClr val="808080"/>
        </a:accent6>
        <a:hlink>
          <a:srgbClr val="8B78B8"/>
        </a:hlink>
        <a:folHlink>
          <a:srgbClr val="00506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itle.pptx" id="{496324DB-6466-4DB7-86D5-0C6D4C9727B3}" vid="{1D268D07-532A-468D-BD44-4FB7844A742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3881</TotalTime>
  <Words>274</Words>
  <Application>Microsoft Office PowerPoint</Application>
  <PresentationFormat>Custom</PresentationFormat>
  <Paragraphs>188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7" baseType="lpstr">
      <vt:lpstr>Gungsuh</vt:lpstr>
      <vt:lpstr>微軟正黑體</vt:lpstr>
      <vt:lpstr>新細明體</vt:lpstr>
      <vt:lpstr>文鼎粗黑</vt:lpstr>
      <vt:lpstr>Arial</vt:lpstr>
      <vt:lpstr>Calibri</vt:lpstr>
      <vt:lpstr>Consolas</vt:lpstr>
      <vt:lpstr>Georgia</vt:lpstr>
      <vt:lpstr>Monotype Corsiva</vt:lpstr>
      <vt:lpstr>Segoe UI</vt:lpstr>
      <vt:lpstr>Tahoma</vt:lpstr>
      <vt:lpstr>Wingdings</vt:lpstr>
      <vt:lpstr>Wistron_CF_WIV015</vt:lpstr>
      <vt:lpstr>1_Wistron_CF_WIV015</vt:lpstr>
      <vt:lpstr>think-cell Slide</vt:lpstr>
      <vt:lpstr>Node.js &amp; Web Crawler  exercise kq</vt:lpstr>
      <vt:lpstr>Data Process Flow</vt:lpstr>
      <vt:lpstr>Report</vt:lpstr>
      <vt:lpstr>Code</vt:lpstr>
      <vt:lpstr>Code</vt:lpstr>
      <vt:lpstr>Code</vt:lpstr>
      <vt:lpstr>Code</vt:lpstr>
      <vt:lpstr>Code</vt:lpstr>
      <vt:lpstr>Code</vt:lpstr>
      <vt:lpstr>Code</vt:lpstr>
      <vt:lpstr>Point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stron DnA transformation program  Initial proposal</dc:title>
  <dc:creator>Kevin Weiming Wu</dc:creator>
  <cp:lastModifiedBy>Austin Zhang</cp:lastModifiedBy>
  <cp:revision>9519</cp:revision>
  <cp:lastPrinted>2020-01-22T02:40:45Z</cp:lastPrinted>
  <dcterms:created xsi:type="dcterms:W3CDTF">2019-01-30T11:00:26Z</dcterms:created>
  <dcterms:modified xsi:type="dcterms:W3CDTF">2021-01-26T06:41:37Z</dcterms:modified>
</cp:coreProperties>
</file>